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9"/>
  </p:notesMasterIdLst>
  <p:handoutMasterIdLst>
    <p:handoutMasterId r:id="rId20"/>
  </p:handoutMasterIdLst>
  <p:sldIdLst>
    <p:sldId id="257" r:id="rId6"/>
    <p:sldId id="259" r:id="rId7"/>
    <p:sldId id="260" r:id="rId8"/>
    <p:sldId id="273" r:id="rId9"/>
    <p:sldId id="272" r:id="rId10"/>
    <p:sldId id="266" r:id="rId11"/>
    <p:sldId id="261" r:id="rId12"/>
    <p:sldId id="263" r:id="rId13"/>
    <p:sldId id="265" r:id="rId14"/>
    <p:sldId id="267" r:id="rId15"/>
    <p:sldId id="264" r:id="rId16"/>
    <p:sldId id="274" r:id="rId17"/>
    <p:sldId id="268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FFDF"/>
    <a:srgbClr val="0A0000"/>
    <a:srgbClr val="020000"/>
    <a:srgbClr val="010000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4265536-4D12-4ECA-9432-3AD39B6E70FE}" v="1" dt="2022-08-30T07:09:40.3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29" autoAdjust="0"/>
    <p:restoredTop sz="94660"/>
  </p:normalViewPr>
  <p:slideViewPr>
    <p:cSldViewPr snapToGrid="0">
      <p:cViewPr varScale="1">
        <p:scale>
          <a:sx n="74" d="100"/>
          <a:sy n="74" d="100"/>
        </p:scale>
        <p:origin x="72" y="3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unn Wiig" userId="a10f0c23-f8df-4e8f-85c1-31fc7f593f3e" providerId="ADAL" clId="{B4265536-4D12-4ECA-9432-3AD39B6E70FE}"/>
    <pc:docChg chg="undo custSel delSld modSld">
      <pc:chgData name="Ingunn Wiig" userId="a10f0c23-f8df-4e8f-85c1-31fc7f593f3e" providerId="ADAL" clId="{B4265536-4D12-4ECA-9432-3AD39B6E70FE}" dt="2022-08-30T07:10:26.628" v="104" actId="47"/>
      <pc:docMkLst>
        <pc:docMk/>
      </pc:docMkLst>
      <pc:sldChg chg="addSp modSp mod">
        <pc:chgData name="Ingunn Wiig" userId="a10f0c23-f8df-4e8f-85c1-31fc7f593f3e" providerId="ADAL" clId="{B4265536-4D12-4ECA-9432-3AD39B6E70FE}" dt="2022-08-30T07:10:01.912" v="103" actId="20577"/>
        <pc:sldMkLst>
          <pc:docMk/>
          <pc:sldMk cId="1371422637" sldId="257"/>
        </pc:sldMkLst>
        <pc:spChg chg="mod">
          <ac:chgData name="Ingunn Wiig" userId="a10f0c23-f8df-4e8f-85c1-31fc7f593f3e" providerId="ADAL" clId="{B4265536-4D12-4ECA-9432-3AD39B6E70FE}" dt="2022-08-30T07:09:26.334" v="43" actId="20577"/>
          <ac:spMkLst>
            <pc:docMk/>
            <pc:sldMk cId="1371422637" sldId="257"/>
            <ac:spMk id="5" creationId="{00000000-0000-0000-0000-000000000000}"/>
          </ac:spMkLst>
        </pc:spChg>
        <pc:spChg chg="mod">
          <ac:chgData name="Ingunn Wiig" userId="a10f0c23-f8df-4e8f-85c1-31fc7f593f3e" providerId="ADAL" clId="{B4265536-4D12-4ECA-9432-3AD39B6E70FE}" dt="2022-08-30T07:09:32.406" v="44" actId="1076"/>
          <ac:spMkLst>
            <pc:docMk/>
            <pc:sldMk cId="1371422637" sldId="257"/>
            <ac:spMk id="6" creationId="{00000000-0000-0000-0000-000000000000}"/>
          </ac:spMkLst>
        </pc:spChg>
        <pc:spChg chg="add mod">
          <ac:chgData name="Ingunn Wiig" userId="a10f0c23-f8df-4e8f-85c1-31fc7f593f3e" providerId="ADAL" clId="{B4265536-4D12-4ECA-9432-3AD39B6E70FE}" dt="2022-08-30T07:10:01.912" v="103" actId="20577"/>
          <ac:spMkLst>
            <pc:docMk/>
            <pc:sldMk cId="1371422637" sldId="257"/>
            <ac:spMk id="27" creationId="{DABB0BEF-36EF-4236-852E-E3A08C082C66}"/>
          </ac:spMkLst>
        </pc:spChg>
      </pc:sldChg>
      <pc:sldChg chg="del">
        <pc:chgData name="Ingunn Wiig" userId="a10f0c23-f8df-4e8f-85c1-31fc7f593f3e" providerId="ADAL" clId="{B4265536-4D12-4ECA-9432-3AD39B6E70FE}" dt="2022-08-30T07:10:26.628" v="104" actId="47"/>
        <pc:sldMkLst>
          <pc:docMk/>
          <pc:sldMk cId="2409431348" sldId="258"/>
        </pc:sldMkLst>
      </pc:sldChg>
      <pc:sldChg chg="modSp mod">
        <pc:chgData name="Ingunn Wiig" userId="a10f0c23-f8df-4e8f-85c1-31fc7f593f3e" providerId="ADAL" clId="{B4265536-4D12-4ECA-9432-3AD39B6E70FE}" dt="2022-08-29T14:24:17.836" v="11" actId="1076"/>
        <pc:sldMkLst>
          <pc:docMk/>
          <pc:sldMk cId="360050680" sldId="266"/>
        </pc:sldMkLst>
        <pc:spChg chg="mod">
          <ac:chgData name="Ingunn Wiig" userId="a10f0c23-f8df-4e8f-85c1-31fc7f593f3e" providerId="ADAL" clId="{B4265536-4D12-4ECA-9432-3AD39B6E70FE}" dt="2022-08-29T14:24:12.115" v="10" actId="1076"/>
          <ac:spMkLst>
            <pc:docMk/>
            <pc:sldMk cId="360050680" sldId="266"/>
            <ac:spMk id="11" creationId="{00000000-0000-0000-0000-000000000000}"/>
          </ac:spMkLst>
        </pc:spChg>
        <pc:picChg chg="mod">
          <ac:chgData name="Ingunn Wiig" userId="a10f0c23-f8df-4e8f-85c1-31fc7f593f3e" providerId="ADAL" clId="{B4265536-4D12-4ECA-9432-3AD39B6E70FE}" dt="2022-08-29T14:24:17.836" v="11" actId="1076"/>
          <ac:picMkLst>
            <pc:docMk/>
            <pc:sldMk cId="360050680" sldId="266"/>
            <ac:picMk id="10" creationId="{00000000-0000-0000-0000-000000000000}"/>
          </ac:picMkLst>
        </pc:picChg>
      </pc:sldChg>
      <pc:sldChg chg="modSp mod">
        <pc:chgData name="Ingunn Wiig" userId="a10f0c23-f8df-4e8f-85c1-31fc7f593f3e" providerId="ADAL" clId="{B4265536-4D12-4ECA-9432-3AD39B6E70FE}" dt="2022-08-29T14:24:47.901" v="26" actId="6549"/>
        <pc:sldMkLst>
          <pc:docMk/>
          <pc:sldMk cId="3356263960" sldId="272"/>
        </pc:sldMkLst>
        <pc:spChg chg="mod">
          <ac:chgData name="Ingunn Wiig" userId="a10f0c23-f8df-4e8f-85c1-31fc7f593f3e" providerId="ADAL" clId="{B4265536-4D12-4ECA-9432-3AD39B6E70FE}" dt="2022-08-29T14:24:47.901" v="26" actId="6549"/>
          <ac:spMkLst>
            <pc:docMk/>
            <pc:sldMk cId="3356263960" sldId="272"/>
            <ac:spMk id="8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regneark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22 (n=1300)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2</c:f>
              <c:strCache>
                <c:ptCount val="11"/>
                <c:pt idx="0">
                  <c:v>Å bli kjent med medstudenter</c:v>
                </c:pt>
                <c:pt idx="1">
                  <c:v>Å bli kjent med campus, kantiner, bibliotek, lesesaler og undervisningsrom</c:v>
                </c:pt>
                <c:pt idx="2">
                  <c:v>Å bli kjent med faginnholdet på studieprogrammet mitt</c:v>
                </c:pt>
                <c:pt idx="3">
                  <c:v>Å bli kjent med hva studiet forventer av meg</c:v>
                </c:pt>
                <c:pt idx="4">
                  <c:v>Å bli kjent med mulighetene i studentmiljøet og studentforeninger</c:v>
                </c:pt>
                <c:pt idx="5">
                  <c:v>Å få hjelp til å registrere meg og melde meg opp til emner</c:v>
                </c:pt>
                <c:pt idx="6">
                  <c:v>Å lære meg god studieteknikk</c:v>
                </c:pt>
                <c:pt idx="7">
                  <c:v>Å bli kjent med undervisere</c:v>
                </c:pt>
                <c:pt idx="8">
                  <c:v>Å bli kjent med byen jeg skal studere i</c:v>
                </c:pt>
                <c:pt idx="9">
                  <c:v>Å bli kjent med karrieremulighetene jeg har som ferdig utdannet</c:v>
                </c:pt>
                <c:pt idx="10">
                  <c:v>Vet ikke / ingen av disse</c:v>
                </c:pt>
              </c:strCache>
            </c:strRef>
          </c:cat>
          <c:val>
            <c:numRef>
              <c:f>'Ark1'!$B$2:$B$12</c:f>
              <c:numCache>
                <c:formatCode>0%</c:formatCode>
                <c:ptCount val="11"/>
                <c:pt idx="0">
                  <c:v>0.84076923076923082</c:v>
                </c:pt>
                <c:pt idx="1">
                  <c:v>0.62</c:v>
                </c:pt>
                <c:pt idx="2">
                  <c:v>0.53923076923076918</c:v>
                </c:pt>
                <c:pt idx="3">
                  <c:v>0.42769230769230776</c:v>
                </c:pt>
                <c:pt idx="4">
                  <c:v>0.38076923076923075</c:v>
                </c:pt>
                <c:pt idx="5">
                  <c:v>0.33923076923076922</c:v>
                </c:pt>
                <c:pt idx="6">
                  <c:v>0.29076923076923078</c:v>
                </c:pt>
                <c:pt idx="7">
                  <c:v>0.2853846153846154</c:v>
                </c:pt>
                <c:pt idx="8">
                  <c:v>0.28076923076923077</c:v>
                </c:pt>
                <c:pt idx="9">
                  <c:v>0.20538461538461539</c:v>
                </c:pt>
                <c:pt idx="10">
                  <c:v>6.153846153846153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99-4192-9079-903E5895ECED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21 (n=1331)</c:v>
                </c:pt>
              </c:strCache>
            </c:strRef>
          </c:tx>
          <c:invertIfNegative val="0"/>
          <c:dLbls>
            <c:delete val="1"/>
          </c:dLbls>
          <c:cat>
            <c:strRef>
              <c:f>'Ark1'!$A$2:$A$12</c:f>
              <c:strCache>
                <c:ptCount val="11"/>
                <c:pt idx="0">
                  <c:v>Å bli kjent med medstudenter</c:v>
                </c:pt>
                <c:pt idx="1">
                  <c:v>Å bli kjent med campus, kantiner, bibliotek, lesesaler og undervisningsrom</c:v>
                </c:pt>
                <c:pt idx="2">
                  <c:v>Å bli kjent med faginnholdet på studieprogrammet mitt</c:v>
                </c:pt>
                <c:pt idx="3">
                  <c:v>Å bli kjent med hva studiet forventer av meg</c:v>
                </c:pt>
                <c:pt idx="4">
                  <c:v>Å bli kjent med mulighetene i studentmiljøet og studentforeninger</c:v>
                </c:pt>
                <c:pt idx="5">
                  <c:v>Å få hjelp til å registrere meg og melde meg opp til emner</c:v>
                </c:pt>
                <c:pt idx="6">
                  <c:v>Å lære meg god studieteknikk</c:v>
                </c:pt>
                <c:pt idx="7">
                  <c:v>Å bli kjent med undervisere</c:v>
                </c:pt>
                <c:pt idx="8">
                  <c:v>Å bli kjent med byen jeg skal studere i</c:v>
                </c:pt>
                <c:pt idx="9">
                  <c:v>Å bli kjent med karrieremulighetene jeg har som ferdig utdannet</c:v>
                </c:pt>
                <c:pt idx="10">
                  <c:v>Vet ikke / ingen av disse</c:v>
                </c:pt>
              </c:strCache>
            </c:strRef>
          </c:cat>
          <c:val>
            <c:numRef>
              <c:f>'Ark1'!$C$2:$C$12</c:f>
              <c:numCache>
                <c:formatCode>0%</c:formatCode>
                <c:ptCount val="11"/>
                <c:pt idx="0">
                  <c:v>0.84898572501878289</c:v>
                </c:pt>
                <c:pt idx="1">
                  <c:v>0.61758076634109693</c:v>
                </c:pt>
                <c:pt idx="2">
                  <c:v>0.56799398948159274</c:v>
                </c:pt>
                <c:pt idx="3">
                  <c:v>0.43726521412471825</c:v>
                </c:pt>
                <c:pt idx="4">
                  <c:v>0.38918106686701726</c:v>
                </c:pt>
                <c:pt idx="5">
                  <c:v>0.32531930879038318</c:v>
                </c:pt>
                <c:pt idx="6">
                  <c:v>0.29301277235161532</c:v>
                </c:pt>
                <c:pt idx="7">
                  <c:v>0.27122464312546957</c:v>
                </c:pt>
                <c:pt idx="8">
                  <c:v>0.29000751314800899</c:v>
                </c:pt>
                <c:pt idx="9">
                  <c:v>0.24042073628850488</c:v>
                </c:pt>
                <c:pt idx="10">
                  <c:v>6.010518407212622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99-4192-9079-903E5895ECE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641609135"/>
        <c:axId val="641606223"/>
      </c:barChart>
      <c:catAx>
        <c:axId val="64160913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515350">
                    <a:tint val="75000"/>
                  </a:srgbClr>
                </a:solidFill>
                <a:prstDash val="solid"/>
                <a:round/>
              </a14:hiddenLine>
            </a:ext>
          </a:extLst>
        </c:spPr>
        <c:txPr>
          <a:bodyPr rot="-60000000" vert="horz"/>
          <a:lstStyle/>
          <a:p>
            <a:pPr>
              <a:defRPr/>
            </a:pPr>
            <a:endParaRPr lang="nb-NO"/>
          </a:p>
        </c:txPr>
        <c:crossAx val="641606223"/>
        <c:crosses val="autoZero"/>
        <c:auto val="1"/>
        <c:lblAlgn val="ctr"/>
        <c:lblOffset val="100"/>
        <c:noMultiLvlLbl val="0"/>
      </c:catAx>
      <c:valAx>
        <c:axId val="641606223"/>
        <c:scaling>
          <c:orientation val="minMax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641609135"/>
        <c:crosses val="max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nb-NO"/>
        </a:p>
      </c:txPr>
    </c:legend>
    <c:plotVisOnly val="1"/>
    <c:dispBlanksAs val="gap"/>
    <c:showDLblsOverMax val="0"/>
    <c:extLst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/>
      </a:pPr>
      <a:endParaRPr lang="nb-NO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BCEF20-14C5-484B-B2B2-60152609F354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FEA3AF38-2F6F-4CE9-A037-7F016363A3F7}">
      <dgm:prSet phldrT="[Tekst]"/>
      <dgm:spPr/>
      <dgm:t>
        <a:bodyPr/>
        <a:lstStyle/>
        <a:p>
          <a:r>
            <a:rPr lang="nb-NO" dirty="0"/>
            <a:t>Organisering av </a:t>
          </a:r>
          <a:r>
            <a:rPr lang="nb-NO" dirty="0" err="1"/>
            <a:t>studiestartsarbeidet</a:t>
          </a:r>
          <a:endParaRPr lang="nb-NO" dirty="0"/>
        </a:p>
      </dgm:t>
    </dgm:pt>
    <dgm:pt modelId="{CC2A7113-6AB5-4C95-B778-2CF038B16E4F}" type="parTrans" cxnId="{3A63DDE6-AA55-4765-9CB3-99C0968D005C}">
      <dgm:prSet/>
      <dgm:spPr/>
      <dgm:t>
        <a:bodyPr/>
        <a:lstStyle/>
        <a:p>
          <a:endParaRPr lang="nb-NO"/>
        </a:p>
      </dgm:t>
    </dgm:pt>
    <dgm:pt modelId="{F52969A1-B9CA-4100-8C67-E7E2C876E805}" type="sibTrans" cxnId="{3A63DDE6-AA55-4765-9CB3-99C0968D005C}">
      <dgm:prSet/>
      <dgm:spPr/>
      <dgm:t>
        <a:bodyPr/>
        <a:lstStyle/>
        <a:p>
          <a:endParaRPr lang="nb-NO"/>
        </a:p>
      </dgm:t>
    </dgm:pt>
    <dgm:pt modelId="{FDFFD3A6-C3A4-4E80-9B88-CB2DD3ECF223}">
      <dgm:prSet phldrT="[Tekst]"/>
      <dgm:spPr/>
      <dgm:t>
        <a:bodyPr/>
        <a:lstStyle/>
        <a:p>
          <a:r>
            <a:rPr lang="nb-NO" b="1" dirty="0"/>
            <a:t>Nettverk for studiestart</a:t>
          </a:r>
          <a:br>
            <a:rPr lang="nb-NO" b="1" dirty="0"/>
          </a:br>
          <a:r>
            <a:rPr lang="nb-NO" dirty="0"/>
            <a:t>(ledes av </a:t>
          </a:r>
          <a:r>
            <a:rPr lang="nb-NO" dirty="0" err="1"/>
            <a:t>studiestartskoordinator</a:t>
          </a:r>
          <a:r>
            <a:rPr lang="nb-NO" dirty="0"/>
            <a:t> ved AKS)</a:t>
          </a:r>
        </a:p>
      </dgm:t>
    </dgm:pt>
    <dgm:pt modelId="{36C65F32-8786-41F1-96BE-86B1BAEC8945}" type="parTrans" cxnId="{C1681FA2-4017-4746-86B3-F526D08EDAD3}">
      <dgm:prSet/>
      <dgm:spPr/>
      <dgm:t>
        <a:bodyPr/>
        <a:lstStyle/>
        <a:p>
          <a:endParaRPr lang="nb-NO"/>
        </a:p>
      </dgm:t>
    </dgm:pt>
    <dgm:pt modelId="{2F9C7D34-40AC-4E77-A869-3ABEE15A9221}" type="sibTrans" cxnId="{C1681FA2-4017-4746-86B3-F526D08EDAD3}">
      <dgm:prSet/>
      <dgm:spPr/>
      <dgm:t>
        <a:bodyPr/>
        <a:lstStyle/>
        <a:p>
          <a:endParaRPr lang="nb-NO"/>
        </a:p>
      </dgm:t>
    </dgm:pt>
    <dgm:pt modelId="{421D8995-10F1-4B1B-9898-C9A6A68BC6A1}">
      <dgm:prSet phldrT="[Tekst]"/>
      <dgm:spPr/>
      <dgm:t>
        <a:bodyPr/>
        <a:lstStyle/>
        <a:p>
          <a:r>
            <a:rPr lang="nb-NO" b="1" dirty="0"/>
            <a:t>Faddersjefnettverket</a:t>
          </a:r>
          <a:br>
            <a:rPr lang="nb-NO" b="1" dirty="0"/>
          </a:br>
          <a:r>
            <a:rPr lang="nb-NO" dirty="0"/>
            <a:t>(ledes av faddersjefkoordinator ved AKS)</a:t>
          </a:r>
        </a:p>
      </dgm:t>
    </dgm:pt>
    <dgm:pt modelId="{1C82FB9F-CCA8-41F6-9D62-4D116DB1AD61}" type="parTrans" cxnId="{E69A656E-72BF-4B87-A980-B2CBDEA25FA4}">
      <dgm:prSet/>
      <dgm:spPr/>
      <dgm:t>
        <a:bodyPr/>
        <a:lstStyle/>
        <a:p>
          <a:endParaRPr lang="nb-NO"/>
        </a:p>
      </dgm:t>
    </dgm:pt>
    <dgm:pt modelId="{C314EB40-B184-4AAF-AD07-5B2C5B783031}" type="sibTrans" cxnId="{E69A656E-72BF-4B87-A980-B2CBDEA25FA4}">
      <dgm:prSet/>
      <dgm:spPr/>
      <dgm:t>
        <a:bodyPr/>
        <a:lstStyle/>
        <a:p>
          <a:endParaRPr lang="nb-NO"/>
        </a:p>
      </dgm:t>
    </dgm:pt>
    <dgm:pt modelId="{FC2CCFBE-A15A-4C71-926C-0F9BEAA05566}">
      <dgm:prSet/>
      <dgm:spPr/>
      <dgm:t>
        <a:bodyPr/>
        <a:lstStyle/>
        <a:p>
          <a:r>
            <a:rPr lang="nb-NO" dirty="0" err="1"/>
            <a:t>Studiestartskoordinator</a:t>
          </a:r>
          <a:r>
            <a:rPr lang="nb-NO" dirty="0"/>
            <a:t> ved HF</a:t>
          </a:r>
        </a:p>
      </dgm:t>
    </dgm:pt>
    <dgm:pt modelId="{4E5E6F01-12A0-44A5-BD22-88ECC5ED2036}" type="parTrans" cxnId="{DC8ABF8F-CEEB-4122-B8A1-3B9ED1BBA391}">
      <dgm:prSet/>
      <dgm:spPr/>
      <dgm:t>
        <a:bodyPr/>
        <a:lstStyle/>
        <a:p>
          <a:endParaRPr lang="nb-NO"/>
        </a:p>
      </dgm:t>
    </dgm:pt>
    <dgm:pt modelId="{7FCCD816-BC82-4D48-9B03-BD01AA1488BD}" type="sibTrans" cxnId="{DC8ABF8F-CEEB-4122-B8A1-3B9ED1BBA391}">
      <dgm:prSet/>
      <dgm:spPr/>
      <dgm:t>
        <a:bodyPr/>
        <a:lstStyle/>
        <a:p>
          <a:endParaRPr lang="nb-NO"/>
        </a:p>
      </dgm:t>
    </dgm:pt>
    <dgm:pt modelId="{BD136863-E142-44C2-B081-CC9309D854DF}">
      <dgm:prSet/>
      <dgm:spPr/>
      <dgm:t>
        <a:bodyPr/>
        <a:lstStyle/>
        <a:p>
          <a:r>
            <a:rPr lang="nb-NO" dirty="0" err="1"/>
            <a:t>Studiestartskoordinator</a:t>
          </a:r>
          <a:r>
            <a:rPr lang="nb-NO" dirty="0"/>
            <a:t> ved SV</a:t>
          </a:r>
        </a:p>
      </dgm:t>
    </dgm:pt>
    <dgm:pt modelId="{ED3BEBA1-C90C-434C-AB6F-B90415391409}" type="parTrans" cxnId="{192D1A94-911E-4D2B-8CDA-9107C049CD9D}">
      <dgm:prSet/>
      <dgm:spPr/>
      <dgm:t>
        <a:bodyPr/>
        <a:lstStyle/>
        <a:p>
          <a:endParaRPr lang="nb-NO"/>
        </a:p>
      </dgm:t>
    </dgm:pt>
    <dgm:pt modelId="{2FF163FF-B5CF-476C-933B-9CFF69A80402}" type="sibTrans" cxnId="{192D1A94-911E-4D2B-8CDA-9107C049CD9D}">
      <dgm:prSet/>
      <dgm:spPr/>
      <dgm:t>
        <a:bodyPr/>
        <a:lstStyle/>
        <a:p>
          <a:endParaRPr lang="nb-NO"/>
        </a:p>
      </dgm:t>
    </dgm:pt>
    <dgm:pt modelId="{3CBDEB9E-441C-454C-BF9A-F4D183470A14}">
      <dgm:prSet/>
      <dgm:spPr/>
      <dgm:t>
        <a:bodyPr/>
        <a:lstStyle/>
        <a:p>
          <a:r>
            <a:rPr lang="nb-NO" dirty="0" err="1"/>
            <a:t>Studiestartskoordinator</a:t>
          </a:r>
          <a:r>
            <a:rPr lang="nb-NO" dirty="0"/>
            <a:t> ved MN</a:t>
          </a:r>
        </a:p>
      </dgm:t>
    </dgm:pt>
    <dgm:pt modelId="{A70021DE-D78F-429A-91B1-4E1E1FCC8944}" type="parTrans" cxnId="{C4D733B0-365F-4117-A0F2-B49D088725A4}">
      <dgm:prSet/>
      <dgm:spPr/>
      <dgm:t>
        <a:bodyPr/>
        <a:lstStyle/>
        <a:p>
          <a:endParaRPr lang="nb-NO"/>
        </a:p>
      </dgm:t>
    </dgm:pt>
    <dgm:pt modelId="{CD4484FB-476E-4EFB-AF31-84BEBCDC647E}" type="sibTrans" cxnId="{C4D733B0-365F-4117-A0F2-B49D088725A4}">
      <dgm:prSet/>
      <dgm:spPr/>
      <dgm:t>
        <a:bodyPr/>
        <a:lstStyle/>
        <a:p>
          <a:endParaRPr lang="nb-NO"/>
        </a:p>
      </dgm:t>
    </dgm:pt>
    <dgm:pt modelId="{51026ABE-5000-40E5-97E4-53EC6EE673D6}">
      <dgm:prSet/>
      <dgm:spPr/>
      <dgm:t>
        <a:bodyPr/>
        <a:lstStyle/>
        <a:p>
          <a:r>
            <a:rPr lang="nb-NO" dirty="0"/>
            <a:t>(også videre</a:t>
          </a:r>
        </a:p>
      </dgm:t>
    </dgm:pt>
    <dgm:pt modelId="{0A6E71FB-E896-4E1B-A899-A8FD6118FA0D}" type="parTrans" cxnId="{F209142A-516A-4B02-B576-202C09817E86}">
      <dgm:prSet/>
      <dgm:spPr/>
      <dgm:t>
        <a:bodyPr/>
        <a:lstStyle/>
        <a:p>
          <a:endParaRPr lang="nb-NO"/>
        </a:p>
      </dgm:t>
    </dgm:pt>
    <dgm:pt modelId="{E20C9263-C167-4FA3-9767-5BD0FFBC7FF7}" type="sibTrans" cxnId="{F209142A-516A-4B02-B576-202C09817E86}">
      <dgm:prSet/>
      <dgm:spPr/>
      <dgm:t>
        <a:bodyPr/>
        <a:lstStyle/>
        <a:p>
          <a:endParaRPr lang="nb-NO"/>
        </a:p>
      </dgm:t>
    </dgm:pt>
    <dgm:pt modelId="{652A3456-2087-4E73-BDE2-D535001868E9}">
      <dgm:prSet/>
      <dgm:spPr/>
      <dgm:t>
        <a:bodyPr/>
        <a:lstStyle/>
        <a:p>
          <a:r>
            <a:rPr lang="nb-NO" dirty="0"/>
            <a:t>Faddersjef ved HF</a:t>
          </a:r>
        </a:p>
      </dgm:t>
    </dgm:pt>
    <dgm:pt modelId="{7F120D29-16AE-4E9C-8ED2-D0597F0C11E9}" type="parTrans" cxnId="{B0357A10-9A0B-4C76-9269-1EC285D1F4F6}">
      <dgm:prSet/>
      <dgm:spPr/>
      <dgm:t>
        <a:bodyPr/>
        <a:lstStyle/>
        <a:p>
          <a:endParaRPr lang="nb-NO"/>
        </a:p>
      </dgm:t>
    </dgm:pt>
    <dgm:pt modelId="{1CB4441F-2E15-40A1-A925-EF871B257154}" type="sibTrans" cxnId="{B0357A10-9A0B-4C76-9269-1EC285D1F4F6}">
      <dgm:prSet/>
      <dgm:spPr/>
      <dgm:t>
        <a:bodyPr/>
        <a:lstStyle/>
        <a:p>
          <a:endParaRPr lang="nb-NO"/>
        </a:p>
      </dgm:t>
    </dgm:pt>
    <dgm:pt modelId="{A50B0939-3FE4-4302-B0E8-D3869547B3D4}">
      <dgm:prSet/>
      <dgm:spPr/>
      <dgm:t>
        <a:bodyPr/>
        <a:lstStyle/>
        <a:p>
          <a:r>
            <a:rPr lang="nb-NO" dirty="0"/>
            <a:t>Faddersjef ved SV</a:t>
          </a:r>
        </a:p>
      </dgm:t>
    </dgm:pt>
    <dgm:pt modelId="{D9A711F2-7CA0-4FE2-BDD2-3AA9829C9706}" type="parTrans" cxnId="{D1FFE1C1-F54E-430D-B83E-840C952506E4}">
      <dgm:prSet/>
      <dgm:spPr/>
      <dgm:t>
        <a:bodyPr/>
        <a:lstStyle/>
        <a:p>
          <a:endParaRPr lang="nb-NO"/>
        </a:p>
      </dgm:t>
    </dgm:pt>
    <dgm:pt modelId="{284F83D9-C3A7-4690-BD4D-E8BFBB503428}" type="sibTrans" cxnId="{D1FFE1C1-F54E-430D-B83E-840C952506E4}">
      <dgm:prSet/>
      <dgm:spPr/>
      <dgm:t>
        <a:bodyPr/>
        <a:lstStyle/>
        <a:p>
          <a:endParaRPr lang="nb-NO"/>
        </a:p>
      </dgm:t>
    </dgm:pt>
    <dgm:pt modelId="{A569B0B9-2325-4DBC-8601-BE3DD1B55185}">
      <dgm:prSet/>
      <dgm:spPr/>
      <dgm:t>
        <a:bodyPr/>
        <a:lstStyle/>
        <a:p>
          <a:r>
            <a:rPr lang="nb-NO" dirty="0"/>
            <a:t>Faddersjef ved MN</a:t>
          </a:r>
        </a:p>
      </dgm:t>
    </dgm:pt>
    <dgm:pt modelId="{62D0061D-4516-4B78-B494-57FC820C0394}" type="parTrans" cxnId="{B646D480-5C18-447A-873A-0F1826E4243F}">
      <dgm:prSet/>
      <dgm:spPr/>
      <dgm:t>
        <a:bodyPr/>
        <a:lstStyle/>
        <a:p>
          <a:endParaRPr lang="nb-NO"/>
        </a:p>
      </dgm:t>
    </dgm:pt>
    <dgm:pt modelId="{D5BF9C9D-9385-49DD-8C31-87F852BDAC45}" type="sibTrans" cxnId="{B646D480-5C18-447A-873A-0F1826E4243F}">
      <dgm:prSet/>
      <dgm:spPr/>
      <dgm:t>
        <a:bodyPr/>
        <a:lstStyle/>
        <a:p>
          <a:endParaRPr lang="nb-NO"/>
        </a:p>
      </dgm:t>
    </dgm:pt>
    <dgm:pt modelId="{079AEF3F-53E0-4364-BD98-AF793CCAFED7}">
      <dgm:prSet/>
      <dgm:spPr/>
      <dgm:t>
        <a:bodyPr/>
        <a:lstStyle/>
        <a:p>
          <a:r>
            <a:rPr lang="nb-NO" dirty="0"/>
            <a:t>(også videre)</a:t>
          </a:r>
        </a:p>
      </dgm:t>
    </dgm:pt>
    <dgm:pt modelId="{5D8780EB-55B9-4432-8080-B735B0494245}" type="parTrans" cxnId="{7565226D-4025-4F2A-883D-7ADEC92F8B40}">
      <dgm:prSet/>
      <dgm:spPr/>
      <dgm:t>
        <a:bodyPr/>
        <a:lstStyle/>
        <a:p>
          <a:endParaRPr lang="nb-NO"/>
        </a:p>
      </dgm:t>
    </dgm:pt>
    <dgm:pt modelId="{E6F0E2BD-20D1-4E56-AEBC-5F96660252EE}" type="sibTrans" cxnId="{7565226D-4025-4F2A-883D-7ADEC92F8B40}">
      <dgm:prSet/>
      <dgm:spPr/>
      <dgm:t>
        <a:bodyPr/>
        <a:lstStyle/>
        <a:p>
          <a:endParaRPr lang="nb-NO"/>
        </a:p>
      </dgm:t>
    </dgm:pt>
    <dgm:pt modelId="{A7F6632B-96AA-4B5E-95AD-D98EC637D7FF}" type="pres">
      <dgm:prSet presAssocID="{BEBCEF20-14C5-484B-B2B2-60152609F35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36776F8C-66BA-434D-A815-3F662251DCBA}" type="pres">
      <dgm:prSet presAssocID="{FEA3AF38-2F6F-4CE9-A037-7F016363A3F7}" presName="hierRoot1" presStyleCnt="0">
        <dgm:presLayoutVars>
          <dgm:hierBranch val="init"/>
        </dgm:presLayoutVars>
      </dgm:prSet>
      <dgm:spPr/>
    </dgm:pt>
    <dgm:pt modelId="{673C4BCC-5A49-4C08-BD30-15BD7DD6DD97}" type="pres">
      <dgm:prSet presAssocID="{FEA3AF38-2F6F-4CE9-A037-7F016363A3F7}" presName="rootComposite1" presStyleCnt="0"/>
      <dgm:spPr/>
    </dgm:pt>
    <dgm:pt modelId="{3D814BA7-8630-47A6-9F06-68069B60574C}" type="pres">
      <dgm:prSet presAssocID="{FEA3AF38-2F6F-4CE9-A037-7F016363A3F7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E6F5ECF-8624-44CD-A7BA-F34551D348A8}" type="pres">
      <dgm:prSet presAssocID="{FEA3AF38-2F6F-4CE9-A037-7F016363A3F7}" presName="rootConnector1" presStyleLbl="node1" presStyleIdx="0" presStyleCnt="0"/>
      <dgm:spPr/>
      <dgm:t>
        <a:bodyPr/>
        <a:lstStyle/>
        <a:p>
          <a:endParaRPr lang="en-US"/>
        </a:p>
      </dgm:t>
    </dgm:pt>
    <dgm:pt modelId="{F8BE124A-2E99-42CF-BF0B-C4BF63814385}" type="pres">
      <dgm:prSet presAssocID="{FEA3AF38-2F6F-4CE9-A037-7F016363A3F7}" presName="hierChild2" presStyleCnt="0"/>
      <dgm:spPr/>
    </dgm:pt>
    <dgm:pt modelId="{A30020DC-0A63-496D-9FA6-036D6756B605}" type="pres">
      <dgm:prSet presAssocID="{36C65F32-8786-41F1-96BE-86B1BAEC8945}" presName="Name37" presStyleLbl="parChTrans1D2" presStyleIdx="0" presStyleCnt="2"/>
      <dgm:spPr/>
      <dgm:t>
        <a:bodyPr/>
        <a:lstStyle/>
        <a:p>
          <a:endParaRPr lang="en-US"/>
        </a:p>
      </dgm:t>
    </dgm:pt>
    <dgm:pt modelId="{B2459DE0-DFAC-4E51-BFF5-2501B68A25C1}" type="pres">
      <dgm:prSet presAssocID="{FDFFD3A6-C3A4-4E80-9B88-CB2DD3ECF223}" presName="hierRoot2" presStyleCnt="0">
        <dgm:presLayoutVars>
          <dgm:hierBranch val="init"/>
        </dgm:presLayoutVars>
      </dgm:prSet>
      <dgm:spPr/>
    </dgm:pt>
    <dgm:pt modelId="{C7F44244-F6FF-46E2-8713-DF0DE0FDA88B}" type="pres">
      <dgm:prSet presAssocID="{FDFFD3A6-C3A4-4E80-9B88-CB2DD3ECF223}" presName="rootComposite" presStyleCnt="0"/>
      <dgm:spPr/>
    </dgm:pt>
    <dgm:pt modelId="{3DC0B0BB-DB83-4340-BEC4-E9F79B3BBE58}" type="pres">
      <dgm:prSet presAssocID="{FDFFD3A6-C3A4-4E80-9B88-CB2DD3ECF223}" presName="rootText" presStyleLbl="node2" presStyleIdx="0" presStyleCnt="2" custScaleX="121690" custScaleY="1446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13A3523-2BD1-4B91-83F7-2AEDAAC2805C}" type="pres">
      <dgm:prSet presAssocID="{FDFFD3A6-C3A4-4E80-9B88-CB2DD3ECF223}" presName="rootConnector" presStyleLbl="node2" presStyleIdx="0" presStyleCnt="2"/>
      <dgm:spPr/>
      <dgm:t>
        <a:bodyPr/>
        <a:lstStyle/>
        <a:p>
          <a:endParaRPr lang="en-US"/>
        </a:p>
      </dgm:t>
    </dgm:pt>
    <dgm:pt modelId="{D4A1D80B-D8F3-496A-A148-DEDBF3F56F28}" type="pres">
      <dgm:prSet presAssocID="{FDFFD3A6-C3A4-4E80-9B88-CB2DD3ECF223}" presName="hierChild4" presStyleCnt="0"/>
      <dgm:spPr/>
    </dgm:pt>
    <dgm:pt modelId="{AD648D1F-1F9D-41D3-842B-E7F8FB196D07}" type="pres">
      <dgm:prSet presAssocID="{4E5E6F01-12A0-44A5-BD22-88ECC5ED2036}" presName="Name37" presStyleLbl="parChTrans1D3" presStyleIdx="0" presStyleCnt="8"/>
      <dgm:spPr/>
      <dgm:t>
        <a:bodyPr/>
        <a:lstStyle/>
        <a:p>
          <a:endParaRPr lang="en-US"/>
        </a:p>
      </dgm:t>
    </dgm:pt>
    <dgm:pt modelId="{1E5B3D4D-5B1B-4391-9A99-F906F4CE72EE}" type="pres">
      <dgm:prSet presAssocID="{FC2CCFBE-A15A-4C71-926C-0F9BEAA05566}" presName="hierRoot2" presStyleCnt="0">
        <dgm:presLayoutVars>
          <dgm:hierBranch val="init"/>
        </dgm:presLayoutVars>
      </dgm:prSet>
      <dgm:spPr/>
    </dgm:pt>
    <dgm:pt modelId="{6C725FAA-ECFA-4A67-BEED-1BA4E2D126E1}" type="pres">
      <dgm:prSet presAssocID="{FC2CCFBE-A15A-4C71-926C-0F9BEAA05566}" presName="rootComposite" presStyleCnt="0"/>
      <dgm:spPr/>
    </dgm:pt>
    <dgm:pt modelId="{58ED9816-40E4-4A5E-B01A-528FEA922F82}" type="pres">
      <dgm:prSet presAssocID="{FC2CCFBE-A15A-4C71-926C-0F9BEAA05566}" presName="rootText" presStyleLbl="node3" presStyleIdx="0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5EAFAAB-CF9F-4340-A863-828802B3E674}" type="pres">
      <dgm:prSet presAssocID="{FC2CCFBE-A15A-4C71-926C-0F9BEAA05566}" presName="rootConnector" presStyleLbl="node3" presStyleIdx="0" presStyleCnt="8"/>
      <dgm:spPr/>
      <dgm:t>
        <a:bodyPr/>
        <a:lstStyle/>
        <a:p>
          <a:endParaRPr lang="en-US"/>
        </a:p>
      </dgm:t>
    </dgm:pt>
    <dgm:pt modelId="{54A59530-4E14-4D6E-9068-E9D6F458B7B6}" type="pres">
      <dgm:prSet presAssocID="{FC2CCFBE-A15A-4C71-926C-0F9BEAA05566}" presName="hierChild4" presStyleCnt="0"/>
      <dgm:spPr/>
    </dgm:pt>
    <dgm:pt modelId="{0559BEC6-950E-4E04-94F3-2087000665B5}" type="pres">
      <dgm:prSet presAssocID="{FC2CCFBE-A15A-4C71-926C-0F9BEAA05566}" presName="hierChild5" presStyleCnt="0"/>
      <dgm:spPr/>
    </dgm:pt>
    <dgm:pt modelId="{5C9E310B-7CEF-4F70-AFDE-5D7CF4E5D031}" type="pres">
      <dgm:prSet presAssocID="{ED3BEBA1-C90C-434C-AB6F-B90415391409}" presName="Name37" presStyleLbl="parChTrans1D3" presStyleIdx="1" presStyleCnt="8"/>
      <dgm:spPr/>
      <dgm:t>
        <a:bodyPr/>
        <a:lstStyle/>
        <a:p>
          <a:endParaRPr lang="en-US"/>
        </a:p>
      </dgm:t>
    </dgm:pt>
    <dgm:pt modelId="{11983C83-5466-49A1-841B-F889C749150A}" type="pres">
      <dgm:prSet presAssocID="{BD136863-E142-44C2-B081-CC9309D854DF}" presName="hierRoot2" presStyleCnt="0">
        <dgm:presLayoutVars>
          <dgm:hierBranch val="init"/>
        </dgm:presLayoutVars>
      </dgm:prSet>
      <dgm:spPr/>
    </dgm:pt>
    <dgm:pt modelId="{BAFB21D0-C0F0-413C-B1A0-C6DAD50DA4E1}" type="pres">
      <dgm:prSet presAssocID="{BD136863-E142-44C2-B081-CC9309D854DF}" presName="rootComposite" presStyleCnt="0"/>
      <dgm:spPr/>
    </dgm:pt>
    <dgm:pt modelId="{23F7396F-1946-434E-BC3D-77517FFF8499}" type="pres">
      <dgm:prSet presAssocID="{BD136863-E142-44C2-B081-CC9309D854DF}" presName="rootText" presStyleLbl="node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974390C-D21B-4EF0-A725-8D97C5AC8F4E}" type="pres">
      <dgm:prSet presAssocID="{BD136863-E142-44C2-B081-CC9309D854DF}" presName="rootConnector" presStyleLbl="node3" presStyleIdx="1" presStyleCnt="8"/>
      <dgm:spPr/>
      <dgm:t>
        <a:bodyPr/>
        <a:lstStyle/>
        <a:p>
          <a:endParaRPr lang="en-US"/>
        </a:p>
      </dgm:t>
    </dgm:pt>
    <dgm:pt modelId="{9EA3AF63-75CA-423B-AC0D-68D38C8E9C3E}" type="pres">
      <dgm:prSet presAssocID="{BD136863-E142-44C2-B081-CC9309D854DF}" presName="hierChild4" presStyleCnt="0"/>
      <dgm:spPr/>
    </dgm:pt>
    <dgm:pt modelId="{3F8556FE-D5A0-44E5-89DB-400252AB16F7}" type="pres">
      <dgm:prSet presAssocID="{BD136863-E142-44C2-B081-CC9309D854DF}" presName="hierChild5" presStyleCnt="0"/>
      <dgm:spPr/>
    </dgm:pt>
    <dgm:pt modelId="{F3017D92-F883-41B1-A426-8FDAF149BFA3}" type="pres">
      <dgm:prSet presAssocID="{A70021DE-D78F-429A-91B1-4E1E1FCC8944}" presName="Name37" presStyleLbl="parChTrans1D3" presStyleIdx="2" presStyleCnt="8"/>
      <dgm:spPr/>
      <dgm:t>
        <a:bodyPr/>
        <a:lstStyle/>
        <a:p>
          <a:endParaRPr lang="en-US"/>
        </a:p>
      </dgm:t>
    </dgm:pt>
    <dgm:pt modelId="{44CF61BB-08A5-4813-827D-B2A3D3B19BFB}" type="pres">
      <dgm:prSet presAssocID="{3CBDEB9E-441C-454C-BF9A-F4D183470A14}" presName="hierRoot2" presStyleCnt="0">
        <dgm:presLayoutVars>
          <dgm:hierBranch val="init"/>
        </dgm:presLayoutVars>
      </dgm:prSet>
      <dgm:spPr/>
    </dgm:pt>
    <dgm:pt modelId="{109BA8CA-AFF2-4BA1-9824-2FE7B3C5C34D}" type="pres">
      <dgm:prSet presAssocID="{3CBDEB9E-441C-454C-BF9A-F4D183470A14}" presName="rootComposite" presStyleCnt="0"/>
      <dgm:spPr/>
    </dgm:pt>
    <dgm:pt modelId="{D0A5A73C-410D-4D05-B18C-BA70CAD3240B}" type="pres">
      <dgm:prSet presAssocID="{3CBDEB9E-441C-454C-BF9A-F4D183470A14}" presName="rootText" presStyleLbl="node3" presStyleIdx="2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51EB17B-F071-4B83-B177-79444F91C132}" type="pres">
      <dgm:prSet presAssocID="{3CBDEB9E-441C-454C-BF9A-F4D183470A14}" presName="rootConnector" presStyleLbl="node3" presStyleIdx="2" presStyleCnt="8"/>
      <dgm:spPr/>
      <dgm:t>
        <a:bodyPr/>
        <a:lstStyle/>
        <a:p>
          <a:endParaRPr lang="en-US"/>
        </a:p>
      </dgm:t>
    </dgm:pt>
    <dgm:pt modelId="{DB6A418D-3923-434B-8D59-C2B98F84AED6}" type="pres">
      <dgm:prSet presAssocID="{3CBDEB9E-441C-454C-BF9A-F4D183470A14}" presName="hierChild4" presStyleCnt="0"/>
      <dgm:spPr/>
    </dgm:pt>
    <dgm:pt modelId="{E5DE8CB1-8E54-4113-A560-CF34CD4CFAE2}" type="pres">
      <dgm:prSet presAssocID="{3CBDEB9E-441C-454C-BF9A-F4D183470A14}" presName="hierChild5" presStyleCnt="0"/>
      <dgm:spPr/>
    </dgm:pt>
    <dgm:pt modelId="{0C825B88-D523-47F6-BE01-74C6A7992497}" type="pres">
      <dgm:prSet presAssocID="{0A6E71FB-E896-4E1B-A899-A8FD6118FA0D}" presName="Name37" presStyleLbl="parChTrans1D3" presStyleIdx="3" presStyleCnt="8"/>
      <dgm:spPr/>
      <dgm:t>
        <a:bodyPr/>
        <a:lstStyle/>
        <a:p>
          <a:endParaRPr lang="en-US"/>
        </a:p>
      </dgm:t>
    </dgm:pt>
    <dgm:pt modelId="{2A188604-C648-4090-80B3-07AEE6E44DBF}" type="pres">
      <dgm:prSet presAssocID="{51026ABE-5000-40E5-97E4-53EC6EE673D6}" presName="hierRoot2" presStyleCnt="0">
        <dgm:presLayoutVars>
          <dgm:hierBranch val="init"/>
        </dgm:presLayoutVars>
      </dgm:prSet>
      <dgm:spPr/>
    </dgm:pt>
    <dgm:pt modelId="{FF721AD4-41FA-43AF-81C3-A9A422EA1ABB}" type="pres">
      <dgm:prSet presAssocID="{51026ABE-5000-40E5-97E4-53EC6EE673D6}" presName="rootComposite" presStyleCnt="0"/>
      <dgm:spPr/>
    </dgm:pt>
    <dgm:pt modelId="{733C9AE2-EDF8-4F6A-BCCF-61197B0A5F72}" type="pres">
      <dgm:prSet presAssocID="{51026ABE-5000-40E5-97E4-53EC6EE673D6}" presName="rootText" presStyleLbl="node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4DDA599-3EF8-45F2-892D-2500B2BED7BA}" type="pres">
      <dgm:prSet presAssocID="{51026ABE-5000-40E5-97E4-53EC6EE673D6}" presName="rootConnector" presStyleLbl="node3" presStyleIdx="3" presStyleCnt="8"/>
      <dgm:spPr/>
      <dgm:t>
        <a:bodyPr/>
        <a:lstStyle/>
        <a:p>
          <a:endParaRPr lang="en-US"/>
        </a:p>
      </dgm:t>
    </dgm:pt>
    <dgm:pt modelId="{D2D69F22-F629-417C-9CAA-F53F67A60A6B}" type="pres">
      <dgm:prSet presAssocID="{51026ABE-5000-40E5-97E4-53EC6EE673D6}" presName="hierChild4" presStyleCnt="0"/>
      <dgm:spPr/>
    </dgm:pt>
    <dgm:pt modelId="{02E01B73-F10E-4930-ADB5-D8BBAFF5CC60}" type="pres">
      <dgm:prSet presAssocID="{51026ABE-5000-40E5-97E4-53EC6EE673D6}" presName="hierChild5" presStyleCnt="0"/>
      <dgm:spPr/>
    </dgm:pt>
    <dgm:pt modelId="{2F7D7E9A-7839-4A45-9E8D-F85F609397B0}" type="pres">
      <dgm:prSet presAssocID="{FDFFD3A6-C3A4-4E80-9B88-CB2DD3ECF223}" presName="hierChild5" presStyleCnt="0"/>
      <dgm:spPr/>
    </dgm:pt>
    <dgm:pt modelId="{0D7B83B1-2B03-4DF1-A6E4-AD534C4CEFB2}" type="pres">
      <dgm:prSet presAssocID="{1C82FB9F-CCA8-41F6-9D62-4D116DB1AD61}" presName="Name37" presStyleLbl="parChTrans1D2" presStyleIdx="1" presStyleCnt="2"/>
      <dgm:spPr/>
      <dgm:t>
        <a:bodyPr/>
        <a:lstStyle/>
        <a:p>
          <a:endParaRPr lang="en-US"/>
        </a:p>
      </dgm:t>
    </dgm:pt>
    <dgm:pt modelId="{822614E6-FB8B-4203-917E-2B44269A09B9}" type="pres">
      <dgm:prSet presAssocID="{421D8995-10F1-4B1B-9898-C9A6A68BC6A1}" presName="hierRoot2" presStyleCnt="0">
        <dgm:presLayoutVars>
          <dgm:hierBranch val="init"/>
        </dgm:presLayoutVars>
      </dgm:prSet>
      <dgm:spPr/>
    </dgm:pt>
    <dgm:pt modelId="{F5906AEE-314B-4EA6-95A6-450D78248F7B}" type="pres">
      <dgm:prSet presAssocID="{421D8995-10F1-4B1B-9898-C9A6A68BC6A1}" presName="rootComposite" presStyleCnt="0"/>
      <dgm:spPr/>
    </dgm:pt>
    <dgm:pt modelId="{28BE559F-64E3-4BA8-A7A6-47AB5F281404}" type="pres">
      <dgm:prSet presAssocID="{421D8995-10F1-4B1B-9898-C9A6A68BC6A1}" presName="rootText" presStyleLbl="node2" presStyleIdx="1" presStyleCnt="2" custScaleX="139015" custScaleY="14489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E9DC4E1-BE86-460D-B876-30C0A1E8C6CB}" type="pres">
      <dgm:prSet presAssocID="{421D8995-10F1-4B1B-9898-C9A6A68BC6A1}" presName="rootConnector" presStyleLbl="node2" presStyleIdx="1" presStyleCnt="2"/>
      <dgm:spPr/>
      <dgm:t>
        <a:bodyPr/>
        <a:lstStyle/>
        <a:p>
          <a:endParaRPr lang="en-US"/>
        </a:p>
      </dgm:t>
    </dgm:pt>
    <dgm:pt modelId="{0B5D8E01-A813-4D96-939E-0D6736A8A2AD}" type="pres">
      <dgm:prSet presAssocID="{421D8995-10F1-4B1B-9898-C9A6A68BC6A1}" presName="hierChild4" presStyleCnt="0"/>
      <dgm:spPr/>
    </dgm:pt>
    <dgm:pt modelId="{4F50B18A-F029-4E9C-8924-1A935D97DFC3}" type="pres">
      <dgm:prSet presAssocID="{7F120D29-16AE-4E9C-8ED2-D0597F0C11E9}" presName="Name37" presStyleLbl="parChTrans1D3" presStyleIdx="4" presStyleCnt="8"/>
      <dgm:spPr/>
      <dgm:t>
        <a:bodyPr/>
        <a:lstStyle/>
        <a:p>
          <a:endParaRPr lang="en-US"/>
        </a:p>
      </dgm:t>
    </dgm:pt>
    <dgm:pt modelId="{205AD7F6-CEF2-44C0-A5D9-F0411F661331}" type="pres">
      <dgm:prSet presAssocID="{652A3456-2087-4E73-BDE2-D535001868E9}" presName="hierRoot2" presStyleCnt="0">
        <dgm:presLayoutVars>
          <dgm:hierBranch val="init"/>
        </dgm:presLayoutVars>
      </dgm:prSet>
      <dgm:spPr/>
    </dgm:pt>
    <dgm:pt modelId="{9D4F0452-16BB-49A6-8B23-3C9E58D5B8EF}" type="pres">
      <dgm:prSet presAssocID="{652A3456-2087-4E73-BDE2-D535001868E9}" presName="rootComposite" presStyleCnt="0"/>
      <dgm:spPr/>
    </dgm:pt>
    <dgm:pt modelId="{629C211E-C763-4FA7-A373-629BAA97705F}" type="pres">
      <dgm:prSet presAssocID="{652A3456-2087-4E73-BDE2-D535001868E9}" presName="rootText" presStyleLbl="node3" presStyleIdx="4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82933C9-19B3-4956-9D2A-A4B2BD86C605}" type="pres">
      <dgm:prSet presAssocID="{652A3456-2087-4E73-BDE2-D535001868E9}" presName="rootConnector" presStyleLbl="node3" presStyleIdx="4" presStyleCnt="8"/>
      <dgm:spPr/>
      <dgm:t>
        <a:bodyPr/>
        <a:lstStyle/>
        <a:p>
          <a:endParaRPr lang="en-US"/>
        </a:p>
      </dgm:t>
    </dgm:pt>
    <dgm:pt modelId="{36149464-77D6-4EBF-A83B-FC097E4B60F9}" type="pres">
      <dgm:prSet presAssocID="{652A3456-2087-4E73-BDE2-D535001868E9}" presName="hierChild4" presStyleCnt="0"/>
      <dgm:spPr/>
    </dgm:pt>
    <dgm:pt modelId="{566A0AF0-34ED-4A84-9D8B-A467A2CF6165}" type="pres">
      <dgm:prSet presAssocID="{652A3456-2087-4E73-BDE2-D535001868E9}" presName="hierChild5" presStyleCnt="0"/>
      <dgm:spPr/>
    </dgm:pt>
    <dgm:pt modelId="{7BC13D5F-D990-410D-A456-F660C2A182A3}" type="pres">
      <dgm:prSet presAssocID="{D9A711F2-7CA0-4FE2-BDD2-3AA9829C9706}" presName="Name37" presStyleLbl="parChTrans1D3" presStyleIdx="5" presStyleCnt="8"/>
      <dgm:spPr/>
      <dgm:t>
        <a:bodyPr/>
        <a:lstStyle/>
        <a:p>
          <a:endParaRPr lang="en-US"/>
        </a:p>
      </dgm:t>
    </dgm:pt>
    <dgm:pt modelId="{74A2B947-6E68-4539-B58B-70367EC3FD1D}" type="pres">
      <dgm:prSet presAssocID="{A50B0939-3FE4-4302-B0E8-D3869547B3D4}" presName="hierRoot2" presStyleCnt="0">
        <dgm:presLayoutVars>
          <dgm:hierBranch val="init"/>
        </dgm:presLayoutVars>
      </dgm:prSet>
      <dgm:spPr/>
    </dgm:pt>
    <dgm:pt modelId="{9950A637-C6BF-46C8-8472-0171F7465C14}" type="pres">
      <dgm:prSet presAssocID="{A50B0939-3FE4-4302-B0E8-D3869547B3D4}" presName="rootComposite" presStyleCnt="0"/>
      <dgm:spPr/>
    </dgm:pt>
    <dgm:pt modelId="{459A40E7-99E1-4058-BC15-EEDF66E6D2E0}" type="pres">
      <dgm:prSet presAssocID="{A50B0939-3FE4-4302-B0E8-D3869547B3D4}" presName="rootText" presStyleLbl="node3" presStyleIdx="5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3F397B8-5B45-4F1C-9D89-70B683871F84}" type="pres">
      <dgm:prSet presAssocID="{A50B0939-3FE4-4302-B0E8-D3869547B3D4}" presName="rootConnector" presStyleLbl="node3" presStyleIdx="5" presStyleCnt="8"/>
      <dgm:spPr/>
      <dgm:t>
        <a:bodyPr/>
        <a:lstStyle/>
        <a:p>
          <a:endParaRPr lang="en-US"/>
        </a:p>
      </dgm:t>
    </dgm:pt>
    <dgm:pt modelId="{0A0A7DF1-6071-49D1-B26E-34403F21AD60}" type="pres">
      <dgm:prSet presAssocID="{A50B0939-3FE4-4302-B0E8-D3869547B3D4}" presName="hierChild4" presStyleCnt="0"/>
      <dgm:spPr/>
    </dgm:pt>
    <dgm:pt modelId="{E8B68CD7-B7D5-4276-8D62-E1C28405293F}" type="pres">
      <dgm:prSet presAssocID="{A50B0939-3FE4-4302-B0E8-D3869547B3D4}" presName="hierChild5" presStyleCnt="0"/>
      <dgm:spPr/>
    </dgm:pt>
    <dgm:pt modelId="{C8ACE072-773B-452E-A28B-B39720F3DEDB}" type="pres">
      <dgm:prSet presAssocID="{62D0061D-4516-4B78-B494-57FC820C0394}" presName="Name37" presStyleLbl="parChTrans1D3" presStyleIdx="6" presStyleCnt="8"/>
      <dgm:spPr/>
      <dgm:t>
        <a:bodyPr/>
        <a:lstStyle/>
        <a:p>
          <a:endParaRPr lang="en-US"/>
        </a:p>
      </dgm:t>
    </dgm:pt>
    <dgm:pt modelId="{A5BF97C9-2C41-455F-ACB2-4B8AF63A8781}" type="pres">
      <dgm:prSet presAssocID="{A569B0B9-2325-4DBC-8601-BE3DD1B55185}" presName="hierRoot2" presStyleCnt="0">
        <dgm:presLayoutVars>
          <dgm:hierBranch val="init"/>
        </dgm:presLayoutVars>
      </dgm:prSet>
      <dgm:spPr/>
    </dgm:pt>
    <dgm:pt modelId="{AED79A7D-C989-435C-8625-2030DAA7B88D}" type="pres">
      <dgm:prSet presAssocID="{A569B0B9-2325-4DBC-8601-BE3DD1B55185}" presName="rootComposite" presStyleCnt="0"/>
      <dgm:spPr/>
    </dgm:pt>
    <dgm:pt modelId="{FC4E5F1A-E05F-405B-BFBD-554626F523D2}" type="pres">
      <dgm:prSet presAssocID="{A569B0B9-2325-4DBC-8601-BE3DD1B55185}" presName="rootText" presStyleLbl="node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D4E000-66E0-4107-B62E-80AE73303250}" type="pres">
      <dgm:prSet presAssocID="{A569B0B9-2325-4DBC-8601-BE3DD1B55185}" presName="rootConnector" presStyleLbl="node3" presStyleIdx="6" presStyleCnt="8"/>
      <dgm:spPr/>
      <dgm:t>
        <a:bodyPr/>
        <a:lstStyle/>
        <a:p>
          <a:endParaRPr lang="en-US"/>
        </a:p>
      </dgm:t>
    </dgm:pt>
    <dgm:pt modelId="{98E69473-8DD6-4E53-9CD6-34977EECF049}" type="pres">
      <dgm:prSet presAssocID="{A569B0B9-2325-4DBC-8601-BE3DD1B55185}" presName="hierChild4" presStyleCnt="0"/>
      <dgm:spPr/>
    </dgm:pt>
    <dgm:pt modelId="{D0F6290C-58A3-46E0-9AC5-BE66DF148038}" type="pres">
      <dgm:prSet presAssocID="{A569B0B9-2325-4DBC-8601-BE3DD1B55185}" presName="hierChild5" presStyleCnt="0"/>
      <dgm:spPr/>
    </dgm:pt>
    <dgm:pt modelId="{D6BA99AD-14AC-4E39-AA0D-325BB753826B}" type="pres">
      <dgm:prSet presAssocID="{5D8780EB-55B9-4432-8080-B735B0494245}" presName="Name37" presStyleLbl="parChTrans1D3" presStyleIdx="7" presStyleCnt="8"/>
      <dgm:spPr/>
      <dgm:t>
        <a:bodyPr/>
        <a:lstStyle/>
        <a:p>
          <a:endParaRPr lang="en-US"/>
        </a:p>
      </dgm:t>
    </dgm:pt>
    <dgm:pt modelId="{6270D18B-AEE7-4836-BD14-ECA1E212E28C}" type="pres">
      <dgm:prSet presAssocID="{079AEF3F-53E0-4364-BD98-AF793CCAFED7}" presName="hierRoot2" presStyleCnt="0">
        <dgm:presLayoutVars>
          <dgm:hierBranch val="init"/>
        </dgm:presLayoutVars>
      </dgm:prSet>
      <dgm:spPr/>
    </dgm:pt>
    <dgm:pt modelId="{D8A2FBB4-814E-470F-BB6A-FBB620CE8E82}" type="pres">
      <dgm:prSet presAssocID="{079AEF3F-53E0-4364-BD98-AF793CCAFED7}" presName="rootComposite" presStyleCnt="0"/>
      <dgm:spPr/>
    </dgm:pt>
    <dgm:pt modelId="{6A812BE1-C649-45D2-A39A-E7D878105C29}" type="pres">
      <dgm:prSet presAssocID="{079AEF3F-53E0-4364-BD98-AF793CCAFED7}" presName="rootText" presStyleLbl="node3" presStyleIdx="7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63EE03-915E-47EF-9E30-6ABD6E9DABED}" type="pres">
      <dgm:prSet presAssocID="{079AEF3F-53E0-4364-BD98-AF793CCAFED7}" presName="rootConnector" presStyleLbl="node3" presStyleIdx="7" presStyleCnt="8"/>
      <dgm:spPr/>
      <dgm:t>
        <a:bodyPr/>
        <a:lstStyle/>
        <a:p>
          <a:endParaRPr lang="en-US"/>
        </a:p>
      </dgm:t>
    </dgm:pt>
    <dgm:pt modelId="{B3C01AEB-8F8D-4784-A205-8D565F9C539E}" type="pres">
      <dgm:prSet presAssocID="{079AEF3F-53E0-4364-BD98-AF793CCAFED7}" presName="hierChild4" presStyleCnt="0"/>
      <dgm:spPr/>
    </dgm:pt>
    <dgm:pt modelId="{BF929472-7276-4AF9-9924-39E735FA7422}" type="pres">
      <dgm:prSet presAssocID="{079AEF3F-53E0-4364-BD98-AF793CCAFED7}" presName="hierChild5" presStyleCnt="0"/>
      <dgm:spPr/>
    </dgm:pt>
    <dgm:pt modelId="{1664BA9C-B126-4E5E-B363-6061376172CD}" type="pres">
      <dgm:prSet presAssocID="{421D8995-10F1-4B1B-9898-C9A6A68BC6A1}" presName="hierChild5" presStyleCnt="0"/>
      <dgm:spPr/>
    </dgm:pt>
    <dgm:pt modelId="{43CC3193-AC5F-46A4-8DE2-83C1128B4EB4}" type="pres">
      <dgm:prSet presAssocID="{FEA3AF38-2F6F-4CE9-A037-7F016363A3F7}" presName="hierChild3" presStyleCnt="0"/>
      <dgm:spPr/>
    </dgm:pt>
  </dgm:ptLst>
  <dgm:cxnLst>
    <dgm:cxn modelId="{41A770E6-C8D8-4FB6-91AC-2D6BC18355EC}" type="presOf" srcId="{FEA3AF38-2F6F-4CE9-A037-7F016363A3F7}" destId="{3D814BA7-8630-47A6-9F06-68069B60574C}" srcOrd="0" destOrd="0" presId="urn:microsoft.com/office/officeart/2005/8/layout/orgChart1"/>
    <dgm:cxn modelId="{9514508A-18DC-4F39-8365-BDFD19758118}" type="presOf" srcId="{FEA3AF38-2F6F-4CE9-A037-7F016363A3F7}" destId="{0E6F5ECF-8624-44CD-A7BA-F34551D348A8}" srcOrd="1" destOrd="0" presId="urn:microsoft.com/office/officeart/2005/8/layout/orgChart1"/>
    <dgm:cxn modelId="{A7ABCCFB-85A0-4FC8-8B00-31A50659C604}" type="presOf" srcId="{51026ABE-5000-40E5-97E4-53EC6EE673D6}" destId="{B4DDA599-3EF8-45F2-892D-2500B2BED7BA}" srcOrd="1" destOrd="0" presId="urn:microsoft.com/office/officeart/2005/8/layout/orgChart1"/>
    <dgm:cxn modelId="{3DC80C21-8C9A-4B01-8709-206507775D94}" type="presOf" srcId="{51026ABE-5000-40E5-97E4-53EC6EE673D6}" destId="{733C9AE2-EDF8-4F6A-BCCF-61197B0A5F72}" srcOrd="0" destOrd="0" presId="urn:microsoft.com/office/officeart/2005/8/layout/orgChart1"/>
    <dgm:cxn modelId="{3AC78784-8C8C-49DB-9BD7-78D836705AD4}" type="presOf" srcId="{BEBCEF20-14C5-484B-B2B2-60152609F354}" destId="{A7F6632B-96AA-4B5E-95AD-D98EC637D7FF}" srcOrd="0" destOrd="0" presId="urn:microsoft.com/office/officeart/2005/8/layout/orgChart1"/>
    <dgm:cxn modelId="{C4D733B0-365F-4117-A0F2-B49D088725A4}" srcId="{FDFFD3A6-C3A4-4E80-9B88-CB2DD3ECF223}" destId="{3CBDEB9E-441C-454C-BF9A-F4D183470A14}" srcOrd="2" destOrd="0" parTransId="{A70021DE-D78F-429A-91B1-4E1E1FCC8944}" sibTransId="{CD4484FB-476E-4EFB-AF31-84BEBCDC647E}"/>
    <dgm:cxn modelId="{F0E6663F-FD85-4B04-849C-B97F47BC890D}" type="presOf" srcId="{421D8995-10F1-4B1B-9898-C9A6A68BC6A1}" destId="{5E9DC4E1-BE86-460D-B876-30C0A1E8C6CB}" srcOrd="1" destOrd="0" presId="urn:microsoft.com/office/officeart/2005/8/layout/orgChart1"/>
    <dgm:cxn modelId="{EAD54DCF-5E2C-4C7F-853C-A7139636B08C}" type="presOf" srcId="{3CBDEB9E-441C-454C-BF9A-F4D183470A14}" destId="{051EB17B-F071-4B83-B177-79444F91C132}" srcOrd="1" destOrd="0" presId="urn:microsoft.com/office/officeart/2005/8/layout/orgChart1"/>
    <dgm:cxn modelId="{3A63DDE6-AA55-4765-9CB3-99C0968D005C}" srcId="{BEBCEF20-14C5-484B-B2B2-60152609F354}" destId="{FEA3AF38-2F6F-4CE9-A037-7F016363A3F7}" srcOrd="0" destOrd="0" parTransId="{CC2A7113-6AB5-4C95-B778-2CF038B16E4F}" sibTransId="{F52969A1-B9CA-4100-8C67-E7E2C876E805}"/>
    <dgm:cxn modelId="{171056B2-4748-4447-92EE-357E7D6EE960}" type="presOf" srcId="{5D8780EB-55B9-4432-8080-B735B0494245}" destId="{D6BA99AD-14AC-4E39-AA0D-325BB753826B}" srcOrd="0" destOrd="0" presId="urn:microsoft.com/office/officeart/2005/8/layout/orgChart1"/>
    <dgm:cxn modelId="{27B9F0F5-A9DB-418B-8A8E-4FB8D498946B}" type="presOf" srcId="{4E5E6F01-12A0-44A5-BD22-88ECC5ED2036}" destId="{AD648D1F-1F9D-41D3-842B-E7F8FB196D07}" srcOrd="0" destOrd="0" presId="urn:microsoft.com/office/officeart/2005/8/layout/orgChart1"/>
    <dgm:cxn modelId="{A657DDE6-3D76-416F-A01C-D135C62A7618}" type="presOf" srcId="{FC2CCFBE-A15A-4C71-926C-0F9BEAA05566}" destId="{15EAFAAB-CF9F-4340-A863-828802B3E674}" srcOrd="1" destOrd="0" presId="urn:microsoft.com/office/officeart/2005/8/layout/orgChart1"/>
    <dgm:cxn modelId="{FF23BF32-6646-4EFB-A394-6CC92004C695}" type="presOf" srcId="{7F120D29-16AE-4E9C-8ED2-D0597F0C11E9}" destId="{4F50B18A-F029-4E9C-8924-1A935D97DFC3}" srcOrd="0" destOrd="0" presId="urn:microsoft.com/office/officeart/2005/8/layout/orgChart1"/>
    <dgm:cxn modelId="{32B2FC13-6031-4303-9BFD-F0B613282227}" type="presOf" srcId="{A50B0939-3FE4-4302-B0E8-D3869547B3D4}" destId="{459A40E7-99E1-4058-BC15-EEDF66E6D2E0}" srcOrd="0" destOrd="0" presId="urn:microsoft.com/office/officeart/2005/8/layout/orgChart1"/>
    <dgm:cxn modelId="{B20C537D-7120-4F04-AF00-CDCDD05373B3}" type="presOf" srcId="{652A3456-2087-4E73-BDE2-D535001868E9}" destId="{782933C9-19B3-4956-9D2A-A4B2BD86C605}" srcOrd="1" destOrd="0" presId="urn:microsoft.com/office/officeart/2005/8/layout/orgChart1"/>
    <dgm:cxn modelId="{3CAA751E-F486-4633-A503-7BD840C9D02D}" type="presOf" srcId="{079AEF3F-53E0-4364-BD98-AF793CCAFED7}" destId="{2C63EE03-915E-47EF-9E30-6ABD6E9DABED}" srcOrd="1" destOrd="0" presId="urn:microsoft.com/office/officeart/2005/8/layout/orgChart1"/>
    <dgm:cxn modelId="{66A37167-1BF7-4E8F-A1AC-D4D5C6B83133}" type="presOf" srcId="{3CBDEB9E-441C-454C-BF9A-F4D183470A14}" destId="{D0A5A73C-410D-4D05-B18C-BA70CAD3240B}" srcOrd="0" destOrd="0" presId="urn:microsoft.com/office/officeart/2005/8/layout/orgChart1"/>
    <dgm:cxn modelId="{B646D480-5C18-447A-873A-0F1826E4243F}" srcId="{421D8995-10F1-4B1B-9898-C9A6A68BC6A1}" destId="{A569B0B9-2325-4DBC-8601-BE3DD1B55185}" srcOrd="2" destOrd="0" parTransId="{62D0061D-4516-4B78-B494-57FC820C0394}" sibTransId="{D5BF9C9D-9385-49DD-8C31-87F852BDAC45}"/>
    <dgm:cxn modelId="{87388D79-556F-480E-863D-C0F2C788212D}" type="presOf" srcId="{A50B0939-3FE4-4302-B0E8-D3869547B3D4}" destId="{43F397B8-5B45-4F1C-9D89-70B683871F84}" srcOrd="1" destOrd="0" presId="urn:microsoft.com/office/officeart/2005/8/layout/orgChart1"/>
    <dgm:cxn modelId="{A2CF24C0-C323-4588-BCD9-2BEC8862B600}" type="presOf" srcId="{FDFFD3A6-C3A4-4E80-9B88-CB2DD3ECF223}" destId="{3DC0B0BB-DB83-4340-BEC4-E9F79B3BBE58}" srcOrd="0" destOrd="0" presId="urn:microsoft.com/office/officeart/2005/8/layout/orgChart1"/>
    <dgm:cxn modelId="{5746B427-9C28-4F03-AE0A-40FE5A53B46D}" type="presOf" srcId="{BD136863-E142-44C2-B081-CC9309D854DF}" destId="{A974390C-D21B-4EF0-A725-8D97C5AC8F4E}" srcOrd="1" destOrd="0" presId="urn:microsoft.com/office/officeart/2005/8/layout/orgChart1"/>
    <dgm:cxn modelId="{7A8A3AE8-915B-4BF2-8CB8-1FF889CFE9F1}" type="presOf" srcId="{62D0061D-4516-4B78-B494-57FC820C0394}" destId="{C8ACE072-773B-452E-A28B-B39720F3DEDB}" srcOrd="0" destOrd="0" presId="urn:microsoft.com/office/officeart/2005/8/layout/orgChart1"/>
    <dgm:cxn modelId="{B0357A10-9A0B-4C76-9269-1EC285D1F4F6}" srcId="{421D8995-10F1-4B1B-9898-C9A6A68BC6A1}" destId="{652A3456-2087-4E73-BDE2-D535001868E9}" srcOrd="0" destOrd="0" parTransId="{7F120D29-16AE-4E9C-8ED2-D0597F0C11E9}" sibTransId="{1CB4441F-2E15-40A1-A925-EF871B257154}"/>
    <dgm:cxn modelId="{7565226D-4025-4F2A-883D-7ADEC92F8B40}" srcId="{421D8995-10F1-4B1B-9898-C9A6A68BC6A1}" destId="{079AEF3F-53E0-4364-BD98-AF793CCAFED7}" srcOrd="3" destOrd="0" parTransId="{5D8780EB-55B9-4432-8080-B735B0494245}" sibTransId="{E6F0E2BD-20D1-4E56-AEBC-5F96660252EE}"/>
    <dgm:cxn modelId="{C1681FA2-4017-4746-86B3-F526D08EDAD3}" srcId="{FEA3AF38-2F6F-4CE9-A037-7F016363A3F7}" destId="{FDFFD3A6-C3A4-4E80-9B88-CB2DD3ECF223}" srcOrd="0" destOrd="0" parTransId="{36C65F32-8786-41F1-96BE-86B1BAEC8945}" sibTransId="{2F9C7D34-40AC-4E77-A869-3ABEE15A9221}"/>
    <dgm:cxn modelId="{192D1A94-911E-4D2B-8CDA-9107C049CD9D}" srcId="{FDFFD3A6-C3A4-4E80-9B88-CB2DD3ECF223}" destId="{BD136863-E142-44C2-B081-CC9309D854DF}" srcOrd="1" destOrd="0" parTransId="{ED3BEBA1-C90C-434C-AB6F-B90415391409}" sibTransId="{2FF163FF-B5CF-476C-933B-9CFF69A80402}"/>
    <dgm:cxn modelId="{79D286C0-8147-4B86-956C-91F280A34208}" type="presOf" srcId="{421D8995-10F1-4B1B-9898-C9A6A68BC6A1}" destId="{28BE559F-64E3-4BA8-A7A6-47AB5F281404}" srcOrd="0" destOrd="0" presId="urn:microsoft.com/office/officeart/2005/8/layout/orgChart1"/>
    <dgm:cxn modelId="{C86BB47B-E764-4BB9-9261-64A145EB34EB}" type="presOf" srcId="{BD136863-E142-44C2-B081-CC9309D854DF}" destId="{23F7396F-1946-434E-BC3D-77517FFF8499}" srcOrd="0" destOrd="0" presId="urn:microsoft.com/office/officeart/2005/8/layout/orgChart1"/>
    <dgm:cxn modelId="{DC8ABF8F-CEEB-4122-B8A1-3B9ED1BBA391}" srcId="{FDFFD3A6-C3A4-4E80-9B88-CB2DD3ECF223}" destId="{FC2CCFBE-A15A-4C71-926C-0F9BEAA05566}" srcOrd="0" destOrd="0" parTransId="{4E5E6F01-12A0-44A5-BD22-88ECC5ED2036}" sibTransId="{7FCCD816-BC82-4D48-9B03-BD01AA1488BD}"/>
    <dgm:cxn modelId="{A82772AB-641E-4D01-9DDF-7186B7577A74}" type="presOf" srcId="{A569B0B9-2325-4DBC-8601-BE3DD1B55185}" destId="{FC4E5F1A-E05F-405B-BFBD-554626F523D2}" srcOrd="0" destOrd="0" presId="urn:microsoft.com/office/officeart/2005/8/layout/orgChart1"/>
    <dgm:cxn modelId="{088E8DE9-E385-40D3-AB2F-CA95201B3EC5}" type="presOf" srcId="{652A3456-2087-4E73-BDE2-D535001868E9}" destId="{629C211E-C763-4FA7-A373-629BAA97705F}" srcOrd="0" destOrd="0" presId="urn:microsoft.com/office/officeart/2005/8/layout/orgChart1"/>
    <dgm:cxn modelId="{0BFA5B6E-56B0-4495-8D2B-3E5AB10D0EA1}" type="presOf" srcId="{FDFFD3A6-C3A4-4E80-9B88-CB2DD3ECF223}" destId="{613A3523-2BD1-4B91-83F7-2AEDAAC2805C}" srcOrd="1" destOrd="0" presId="urn:microsoft.com/office/officeart/2005/8/layout/orgChart1"/>
    <dgm:cxn modelId="{A50D5C0A-E5F7-4432-BEC4-DE84030DAA8C}" type="presOf" srcId="{ED3BEBA1-C90C-434C-AB6F-B90415391409}" destId="{5C9E310B-7CEF-4F70-AFDE-5D7CF4E5D031}" srcOrd="0" destOrd="0" presId="urn:microsoft.com/office/officeart/2005/8/layout/orgChart1"/>
    <dgm:cxn modelId="{B6C84A49-3AF9-45BF-8BEB-6A9FEAB26210}" type="presOf" srcId="{0A6E71FB-E896-4E1B-A899-A8FD6118FA0D}" destId="{0C825B88-D523-47F6-BE01-74C6A7992497}" srcOrd="0" destOrd="0" presId="urn:microsoft.com/office/officeart/2005/8/layout/orgChart1"/>
    <dgm:cxn modelId="{BC938455-3E17-47A9-9402-CD3BD92A9EE7}" type="presOf" srcId="{A70021DE-D78F-429A-91B1-4E1E1FCC8944}" destId="{F3017D92-F883-41B1-A426-8FDAF149BFA3}" srcOrd="0" destOrd="0" presId="urn:microsoft.com/office/officeart/2005/8/layout/orgChart1"/>
    <dgm:cxn modelId="{D1FFE1C1-F54E-430D-B83E-840C952506E4}" srcId="{421D8995-10F1-4B1B-9898-C9A6A68BC6A1}" destId="{A50B0939-3FE4-4302-B0E8-D3869547B3D4}" srcOrd="1" destOrd="0" parTransId="{D9A711F2-7CA0-4FE2-BDD2-3AA9829C9706}" sibTransId="{284F83D9-C3A7-4690-BD4D-E8BFBB503428}"/>
    <dgm:cxn modelId="{39F2857D-1CF7-4CC6-BCF8-3B288AEA36E0}" type="presOf" srcId="{079AEF3F-53E0-4364-BD98-AF793CCAFED7}" destId="{6A812BE1-C649-45D2-A39A-E7D878105C29}" srcOrd="0" destOrd="0" presId="urn:microsoft.com/office/officeart/2005/8/layout/orgChart1"/>
    <dgm:cxn modelId="{59991122-FE20-4081-BF54-7794698BE74E}" type="presOf" srcId="{D9A711F2-7CA0-4FE2-BDD2-3AA9829C9706}" destId="{7BC13D5F-D990-410D-A456-F660C2A182A3}" srcOrd="0" destOrd="0" presId="urn:microsoft.com/office/officeart/2005/8/layout/orgChart1"/>
    <dgm:cxn modelId="{0082EEF7-968A-4260-BB07-31512A3F7357}" type="presOf" srcId="{A569B0B9-2325-4DBC-8601-BE3DD1B55185}" destId="{26D4E000-66E0-4107-B62E-80AE73303250}" srcOrd="1" destOrd="0" presId="urn:microsoft.com/office/officeart/2005/8/layout/orgChart1"/>
    <dgm:cxn modelId="{F209142A-516A-4B02-B576-202C09817E86}" srcId="{FDFFD3A6-C3A4-4E80-9B88-CB2DD3ECF223}" destId="{51026ABE-5000-40E5-97E4-53EC6EE673D6}" srcOrd="3" destOrd="0" parTransId="{0A6E71FB-E896-4E1B-A899-A8FD6118FA0D}" sibTransId="{E20C9263-C167-4FA3-9767-5BD0FFBC7FF7}"/>
    <dgm:cxn modelId="{E69A656E-72BF-4B87-A980-B2CBDEA25FA4}" srcId="{FEA3AF38-2F6F-4CE9-A037-7F016363A3F7}" destId="{421D8995-10F1-4B1B-9898-C9A6A68BC6A1}" srcOrd="1" destOrd="0" parTransId="{1C82FB9F-CCA8-41F6-9D62-4D116DB1AD61}" sibTransId="{C314EB40-B184-4AAF-AD07-5B2C5B783031}"/>
    <dgm:cxn modelId="{1C37BCDE-7D6A-44D9-8FB8-C7CC96E2243E}" type="presOf" srcId="{36C65F32-8786-41F1-96BE-86B1BAEC8945}" destId="{A30020DC-0A63-496D-9FA6-036D6756B605}" srcOrd="0" destOrd="0" presId="urn:microsoft.com/office/officeart/2005/8/layout/orgChart1"/>
    <dgm:cxn modelId="{CC268B08-D1C2-4509-8627-360C57958AF0}" type="presOf" srcId="{1C82FB9F-CCA8-41F6-9D62-4D116DB1AD61}" destId="{0D7B83B1-2B03-4DF1-A6E4-AD534C4CEFB2}" srcOrd="0" destOrd="0" presId="urn:microsoft.com/office/officeart/2005/8/layout/orgChart1"/>
    <dgm:cxn modelId="{2B619230-2DAB-435F-8081-AB1D7F95CCE6}" type="presOf" srcId="{FC2CCFBE-A15A-4C71-926C-0F9BEAA05566}" destId="{58ED9816-40E4-4A5E-B01A-528FEA922F82}" srcOrd="0" destOrd="0" presId="urn:microsoft.com/office/officeart/2005/8/layout/orgChart1"/>
    <dgm:cxn modelId="{DC2879DB-D25C-4DB4-BDF0-8FFB86ADB0D4}" type="presParOf" srcId="{A7F6632B-96AA-4B5E-95AD-D98EC637D7FF}" destId="{36776F8C-66BA-434D-A815-3F662251DCBA}" srcOrd="0" destOrd="0" presId="urn:microsoft.com/office/officeart/2005/8/layout/orgChart1"/>
    <dgm:cxn modelId="{8803C191-93A5-4A5F-8C04-9CF3AED201B2}" type="presParOf" srcId="{36776F8C-66BA-434D-A815-3F662251DCBA}" destId="{673C4BCC-5A49-4C08-BD30-15BD7DD6DD97}" srcOrd="0" destOrd="0" presId="urn:microsoft.com/office/officeart/2005/8/layout/orgChart1"/>
    <dgm:cxn modelId="{9BB0E0A2-9BF8-4696-B114-BAEBE1213EA4}" type="presParOf" srcId="{673C4BCC-5A49-4C08-BD30-15BD7DD6DD97}" destId="{3D814BA7-8630-47A6-9F06-68069B60574C}" srcOrd="0" destOrd="0" presId="urn:microsoft.com/office/officeart/2005/8/layout/orgChart1"/>
    <dgm:cxn modelId="{0AA566DB-BB66-4302-9B42-7302963FE81C}" type="presParOf" srcId="{673C4BCC-5A49-4C08-BD30-15BD7DD6DD97}" destId="{0E6F5ECF-8624-44CD-A7BA-F34551D348A8}" srcOrd="1" destOrd="0" presId="urn:microsoft.com/office/officeart/2005/8/layout/orgChart1"/>
    <dgm:cxn modelId="{545DCCA9-72DB-4E45-9E17-9A9511ADE175}" type="presParOf" srcId="{36776F8C-66BA-434D-A815-3F662251DCBA}" destId="{F8BE124A-2E99-42CF-BF0B-C4BF63814385}" srcOrd="1" destOrd="0" presId="urn:microsoft.com/office/officeart/2005/8/layout/orgChart1"/>
    <dgm:cxn modelId="{92AD7DA9-1097-40A7-8E65-6908883BD1A6}" type="presParOf" srcId="{F8BE124A-2E99-42CF-BF0B-C4BF63814385}" destId="{A30020DC-0A63-496D-9FA6-036D6756B605}" srcOrd="0" destOrd="0" presId="urn:microsoft.com/office/officeart/2005/8/layout/orgChart1"/>
    <dgm:cxn modelId="{1DAAD9C1-C9FC-4D68-B93D-6A9D662ADEA0}" type="presParOf" srcId="{F8BE124A-2E99-42CF-BF0B-C4BF63814385}" destId="{B2459DE0-DFAC-4E51-BFF5-2501B68A25C1}" srcOrd="1" destOrd="0" presId="urn:microsoft.com/office/officeart/2005/8/layout/orgChart1"/>
    <dgm:cxn modelId="{D05E19AA-1D49-49D8-80AA-069648519FCC}" type="presParOf" srcId="{B2459DE0-DFAC-4E51-BFF5-2501B68A25C1}" destId="{C7F44244-F6FF-46E2-8713-DF0DE0FDA88B}" srcOrd="0" destOrd="0" presId="urn:microsoft.com/office/officeart/2005/8/layout/orgChart1"/>
    <dgm:cxn modelId="{B83BA6CA-D127-41AE-8A58-67642D6122FB}" type="presParOf" srcId="{C7F44244-F6FF-46E2-8713-DF0DE0FDA88B}" destId="{3DC0B0BB-DB83-4340-BEC4-E9F79B3BBE58}" srcOrd="0" destOrd="0" presId="urn:microsoft.com/office/officeart/2005/8/layout/orgChart1"/>
    <dgm:cxn modelId="{845FB7D6-BC20-4D11-8903-AA6C7A0BD291}" type="presParOf" srcId="{C7F44244-F6FF-46E2-8713-DF0DE0FDA88B}" destId="{613A3523-2BD1-4B91-83F7-2AEDAAC2805C}" srcOrd="1" destOrd="0" presId="urn:microsoft.com/office/officeart/2005/8/layout/orgChart1"/>
    <dgm:cxn modelId="{F91D5359-107E-4473-A6CC-B2DE6F0374C9}" type="presParOf" srcId="{B2459DE0-DFAC-4E51-BFF5-2501B68A25C1}" destId="{D4A1D80B-D8F3-496A-A148-DEDBF3F56F28}" srcOrd="1" destOrd="0" presId="urn:microsoft.com/office/officeart/2005/8/layout/orgChart1"/>
    <dgm:cxn modelId="{FA978522-2696-4F45-9930-696CBF3B0282}" type="presParOf" srcId="{D4A1D80B-D8F3-496A-A148-DEDBF3F56F28}" destId="{AD648D1F-1F9D-41D3-842B-E7F8FB196D07}" srcOrd="0" destOrd="0" presId="urn:microsoft.com/office/officeart/2005/8/layout/orgChart1"/>
    <dgm:cxn modelId="{F4418D4F-D8CB-4293-9B1A-909FE8829F8F}" type="presParOf" srcId="{D4A1D80B-D8F3-496A-A148-DEDBF3F56F28}" destId="{1E5B3D4D-5B1B-4391-9A99-F906F4CE72EE}" srcOrd="1" destOrd="0" presId="urn:microsoft.com/office/officeart/2005/8/layout/orgChart1"/>
    <dgm:cxn modelId="{A7F48CDE-A70B-49D0-8FBC-8AEACEA86566}" type="presParOf" srcId="{1E5B3D4D-5B1B-4391-9A99-F906F4CE72EE}" destId="{6C725FAA-ECFA-4A67-BEED-1BA4E2D126E1}" srcOrd="0" destOrd="0" presId="urn:microsoft.com/office/officeart/2005/8/layout/orgChart1"/>
    <dgm:cxn modelId="{6DED47E9-1D0B-4BC8-A794-BA22DDD630C0}" type="presParOf" srcId="{6C725FAA-ECFA-4A67-BEED-1BA4E2D126E1}" destId="{58ED9816-40E4-4A5E-B01A-528FEA922F82}" srcOrd="0" destOrd="0" presId="urn:microsoft.com/office/officeart/2005/8/layout/orgChart1"/>
    <dgm:cxn modelId="{D4E6CE92-B38C-4D52-9C92-49BD44CAE82B}" type="presParOf" srcId="{6C725FAA-ECFA-4A67-BEED-1BA4E2D126E1}" destId="{15EAFAAB-CF9F-4340-A863-828802B3E674}" srcOrd="1" destOrd="0" presId="urn:microsoft.com/office/officeart/2005/8/layout/orgChart1"/>
    <dgm:cxn modelId="{2ADB0954-CC45-48C6-9E76-3F975BEB6C9C}" type="presParOf" srcId="{1E5B3D4D-5B1B-4391-9A99-F906F4CE72EE}" destId="{54A59530-4E14-4D6E-9068-E9D6F458B7B6}" srcOrd="1" destOrd="0" presId="urn:microsoft.com/office/officeart/2005/8/layout/orgChart1"/>
    <dgm:cxn modelId="{D80E0D04-08C8-4333-9D05-C1D56220C900}" type="presParOf" srcId="{1E5B3D4D-5B1B-4391-9A99-F906F4CE72EE}" destId="{0559BEC6-950E-4E04-94F3-2087000665B5}" srcOrd="2" destOrd="0" presId="urn:microsoft.com/office/officeart/2005/8/layout/orgChart1"/>
    <dgm:cxn modelId="{1D29F9F3-4046-494B-BA32-BD6636BF2351}" type="presParOf" srcId="{D4A1D80B-D8F3-496A-A148-DEDBF3F56F28}" destId="{5C9E310B-7CEF-4F70-AFDE-5D7CF4E5D031}" srcOrd="2" destOrd="0" presId="urn:microsoft.com/office/officeart/2005/8/layout/orgChart1"/>
    <dgm:cxn modelId="{64E84DCF-D5B3-499F-BF81-0C2201A231D3}" type="presParOf" srcId="{D4A1D80B-D8F3-496A-A148-DEDBF3F56F28}" destId="{11983C83-5466-49A1-841B-F889C749150A}" srcOrd="3" destOrd="0" presId="urn:microsoft.com/office/officeart/2005/8/layout/orgChart1"/>
    <dgm:cxn modelId="{AAB2067A-1126-47A6-AFB5-5692854679C1}" type="presParOf" srcId="{11983C83-5466-49A1-841B-F889C749150A}" destId="{BAFB21D0-C0F0-413C-B1A0-C6DAD50DA4E1}" srcOrd="0" destOrd="0" presId="urn:microsoft.com/office/officeart/2005/8/layout/orgChart1"/>
    <dgm:cxn modelId="{2714F75E-4A16-42C2-80F0-638502B7EE93}" type="presParOf" srcId="{BAFB21D0-C0F0-413C-B1A0-C6DAD50DA4E1}" destId="{23F7396F-1946-434E-BC3D-77517FFF8499}" srcOrd="0" destOrd="0" presId="urn:microsoft.com/office/officeart/2005/8/layout/orgChart1"/>
    <dgm:cxn modelId="{FE92ADA9-6DA8-447C-B2F2-B7B252C71771}" type="presParOf" srcId="{BAFB21D0-C0F0-413C-B1A0-C6DAD50DA4E1}" destId="{A974390C-D21B-4EF0-A725-8D97C5AC8F4E}" srcOrd="1" destOrd="0" presId="urn:microsoft.com/office/officeart/2005/8/layout/orgChart1"/>
    <dgm:cxn modelId="{DEFA85F6-0A02-48DF-84B7-E4274079AF9F}" type="presParOf" srcId="{11983C83-5466-49A1-841B-F889C749150A}" destId="{9EA3AF63-75CA-423B-AC0D-68D38C8E9C3E}" srcOrd="1" destOrd="0" presId="urn:microsoft.com/office/officeart/2005/8/layout/orgChart1"/>
    <dgm:cxn modelId="{E7193CDE-9615-4AD7-9039-8BC7EED66D94}" type="presParOf" srcId="{11983C83-5466-49A1-841B-F889C749150A}" destId="{3F8556FE-D5A0-44E5-89DB-400252AB16F7}" srcOrd="2" destOrd="0" presId="urn:microsoft.com/office/officeart/2005/8/layout/orgChart1"/>
    <dgm:cxn modelId="{3FD76DBC-71D5-4591-84A3-E213BFD266C6}" type="presParOf" srcId="{D4A1D80B-D8F3-496A-A148-DEDBF3F56F28}" destId="{F3017D92-F883-41B1-A426-8FDAF149BFA3}" srcOrd="4" destOrd="0" presId="urn:microsoft.com/office/officeart/2005/8/layout/orgChart1"/>
    <dgm:cxn modelId="{FBD044C0-946E-4DD9-B505-BABC48253736}" type="presParOf" srcId="{D4A1D80B-D8F3-496A-A148-DEDBF3F56F28}" destId="{44CF61BB-08A5-4813-827D-B2A3D3B19BFB}" srcOrd="5" destOrd="0" presId="urn:microsoft.com/office/officeart/2005/8/layout/orgChart1"/>
    <dgm:cxn modelId="{6587CFAC-08AA-49B7-8A17-E2E80F2E215C}" type="presParOf" srcId="{44CF61BB-08A5-4813-827D-B2A3D3B19BFB}" destId="{109BA8CA-AFF2-4BA1-9824-2FE7B3C5C34D}" srcOrd="0" destOrd="0" presId="urn:microsoft.com/office/officeart/2005/8/layout/orgChart1"/>
    <dgm:cxn modelId="{8C2245EE-6404-4082-AB7B-FAF7FF4362C5}" type="presParOf" srcId="{109BA8CA-AFF2-4BA1-9824-2FE7B3C5C34D}" destId="{D0A5A73C-410D-4D05-B18C-BA70CAD3240B}" srcOrd="0" destOrd="0" presId="urn:microsoft.com/office/officeart/2005/8/layout/orgChart1"/>
    <dgm:cxn modelId="{AF0A33C4-8A50-4816-B7BF-D83734713728}" type="presParOf" srcId="{109BA8CA-AFF2-4BA1-9824-2FE7B3C5C34D}" destId="{051EB17B-F071-4B83-B177-79444F91C132}" srcOrd="1" destOrd="0" presId="urn:microsoft.com/office/officeart/2005/8/layout/orgChart1"/>
    <dgm:cxn modelId="{F4CCF3E2-A625-4034-BE3E-786104B20D1B}" type="presParOf" srcId="{44CF61BB-08A5-4813-827D-B2A3D3B19BFB}" destId="{DB6A418D-3923-434B-8D59-C2B98F84AED6}" srcOrd="1" destOrd="0" presId="urn:microsoft.com/office/officeart/2005/8/layout/orgChart1"/>
    <dgm:cxn modelId="{783B64B0-01D2-4404-9381-234CEF12079F}" type="presParOf" srcId="{44CF61BB-08A5-4813-827D-B2A3D3B19BFB}" destId="{E5DE8CB1-8E54-4113-A560-CF34CD4CFAE2}" srcOrd="2" destOrd="0" presId="urn:microsoft.com/office/officeart/2005/8/layout/orgChart1"/>
    <dgm:cxn modelId="{004400A8-ED51-4D72-A0AA-A6BBCC6C6A7F}" type="presParOf" srcId="{D4A1D80B-D8F3-496A-A148-DEDBF3F56F28}" destId="{0C825B88-D523-47F6-BE01-74C6A7992497}" srcOrd="6" destOrd="0" presId="urn:microsoft.com/office/officeart/2005/8/layout/orgChart1"/>
    <dgm:cxn modelId="{6986C042-9D82-4303-836A-DCF5535F71C8}" type="presParOf" srcId="{D4A1D80B-D8F3-496A-A148-DEDBF3F56F28}" destId="{2A188604-C648-4090-80B3-07AEE6E44DBF}" srcOrd="7" destOrd="0" presId="urn:microsoft.com/office/officeart/2005/8/layout/orgChart1"/>
    <dgm:cxn modelId="{347141BF-5C73-4184-9731-439F06AB28E4}" type="presParOf" srcId="{2A188604-C648-4090-80B3-07AEE6E44DBF}" destId="{FF721AD4-41FA-43AF-81C3-A9A422EA1ABB}" srcOrd="0" destOrd="0" presId="urn:microsoft.com/office/officeart/2005/8/layout/orgChart1"/>
    <dgm:cxn modelId="{1129796D-AB9A-4AA2-932C-6716DFB7F978}" type="presParOf" srcId="{FF721AD4-41FA-43AF-81C3-A9A422EA1ABB}" destId="{733C9AE2-EDF8-4F6A-BCCF-61197B0A5F72}" srcOrd="0" destOrd="0" presId="urn:microsoft.com/office/officeart/2005/8/layout/orgChart1"/>
    <dgm:cxn modelId="{041BC67E-82A4-4E57-A072-2A33D744487D}" type="presParOf" srcId="{FF721AD4-41FA-43AF-81C3-A9A422EA1ABB}" destId="{B4DDA599-3EF8-45F2-892D-2500B2BED7BA}" srcOrd="1" destOrd="0" presId="urn:microsoft.com/office/officeart/2005/8/layout/orgChart1"/>
    <dgm:cxn modelId="{65CBE3EE-0A77-477E-B370-18832CD73677}" type="presParOf" srcId="{2A188604-C648-4090-80B3-07AEE6E44DBF}" destId="{D2D69F22-F629-417C-9CAA-F53F67A60A6B}" srcOrd="1" destOrd="0" presId="urn:microsoft.com/office/officeart/2005/8/layout/orgChart1"/>
    <dgm:cxn modelId="{FF3E5C03-6FE7-42C3-A140-9E25558C4C10}" type="presParOf" srcId="{2A188604-C648-4090-80B3-07AEE6E44DBF}" destId="{02E01B73-F10E-4930-ADB5-D8BBAFF5CC60}" srcOrd="2" destOrd="0" presId="urn:microsoft.com/office/officeart/2005/8/layout/orgChart1"/>
    <dgm:cxn modelId="{6FB0894C-62F8-4273-8F43-1679792F06DF}" type="presParOf" srcId="{B2459DE0-DFAC-4E51-BFF5-2501B68A25C1}" destId="{2F7D7E9A-7839-4A45-9E8D-F85F609397B0}" srcOrd="2" destOrd="0" presId="urn:microsoft.com/office/officeart/2005/8/layout/orgChart1"/>
    <dgm:cxn modelId="{E9487FBC-6AE5-450A-866B-B1B45463349C}" type="presParOf" srcId="{F8BE124A-2E99-42CF-BF0B-C4BF63814385}" destId="{0D7B83B1-2B03-4DF1-A6E4-AD534C4CEFB2}" srcOrd="2" destOrd="0" presId="urn:microsoft.com/office/officeart/2005/8/layout/orgChart1"/>
    <dgm:cxn modelId="{F5479786-3C12-4EC3-8CED-BBB987119984}" type="presParOf" srcId="{F8BE124A-2E99-42CF-BF0B-C4BF63814385}" destId="{822614E6-FB8B-4203-917E-2B44269A09B9}" srcOrd="3" destOrd="0" presId="urn:microsoft.com/office/officeart/2005/8/layout/orgChart1"/>
    <dgm:cxn modelId="{0670A95F-87B0-4202-8FDC-B091B75AB548}" type="presParOf" srcId="{822614E6-FB8B-4203-917E-2B44269A09B9}" destId="{F5906AEE-314B-4EA6-95A6-450D78248F7B}" srcOrd="0" destOrd="0" presId="urn:microsoft.com/office/officeart/2005/8/layout/orgChart1"/>
    <dgm:cxn modelId="{A1CE6AF1-07E6-4E4A-B26C-86AB5A359C1A}" type="presParOf" srcId="{F5906AEE-314B-4EA6-95A6-450D78248F7B}" destId="{28BE559F-64E3-4BA8-A7A6-47AB5F281404}" srcOrd="0" destOrd="0" presId="urn:microsoft.com/office/officeart/2005/8/layout/orgChart1"/>
    <dgm:cxn modelId="{50DDF41F-73A0-43B3-B461-7B6A17E3B8FE}" type="presParOf" srcId="{F5906AEE-314B-4EA6-95A6-450D78248F7B}" destId="{5E9DC4E1-BE86-460D-B876-30C0A1E8C6CB}" srcOrd="1" destOrd="0" presId="urn:microsoft.com/office/officeart/2005/8/layout/orgChart1"/>
    <dgm:cxn modelId="{36CCAF8A-8F21-4D52-AD46-1D68E37C2C1B}" type="presParOf" srcId="{822614E6-FB8B-4203-917E-2B44269A09B9}" destId="{0B5D8E01-A813-4D96-939E-0D6736A8A2AD}" srcOrd="1" destOrd="0" presId="urn:microsoft.com/office/officeart/2005/8/layout/orgChart1"/>
    <dgm:cxn modelId="{FE5994E5-2D95-482F-9AC8-2FC1BAB1F619}" type="presParOf" srcId="{0B5D8E01-A813-4D96-939E-0D6736A8A2AD}" destId="{4F50B18A-F029-4E9C-8924-1A935D97DFC3}" srcOrd="0" destOrd="0" presId="urn:microsoft.com/office/officeart/2005/8/layout/orgChart1"/>
    <dgm:cxn modelId="{96CBBC07-DDFE-477E-89B3-37609F1766EF}" type="presParOf" srcId="{0B5D8E01-A813-4D96-939E-0D6736A8A2AD}" destId="{205AD7F6-CEF2-44C0-A5D9-F0411F661331}" srcOrd="1" destOrd="0" presId="urn:microsoft.com/office/officeart/2005/8/layout/orgChart1"/>
    <dgm:cxn modelId="{F6F5D6C1-21BD-4597-8C12-9D6C118633A0}" type="presParOf" srcId="{205AD7F6-CEF2-44C0-A5D9-F0411F661331}" destId="{9D4F0452-16BB-49A6-8B23-3C9E58D5B8EF}" srcOrd="0" destOrd="0" presId="urn:microsoft.com/office/officeart/2005/8/layout/orgChart1"/>
    <dgm:cxn modelId="{F53956A6-4A36-4B41-9F92-FB14A2408286}" type="presParOf" srcId="{9D4F0452-16BB-49A6-8B23-3C9E58D5B8EF}" destId="{629C211E-C763-4FA7-A373-629BAA97705F}" srcOrd="0" destOrd="0" presId="urn:microsoft.com/office/officeart/2005/8/layout/orgChart1"/>
    <dgm:cxn modelId="{5F7E6BC8-A0A1-4A71-9CAE-BE7776EA6AE0}" type="presParOf" srcId="{9D4F0452-16BB-49A6-8B23-3C9E58D5B8EF}" destId="{782933C9-19B3-4956-9D2A-A4B2BD86C605}" srcOrd="1" destOrd="0" presId="urn:microsoft.com/office/officeart/2005/8/layout/orgChart1"/>
    <dgm:cxn modelId="{52C9B381-4709-4975-8544-E606B1FBEFA3}" type="presParOf" srcId="{205AD7F6-CEF2-44C0-A5D9-F0411F661331}" destId="{36149464-77D6-4EBF-A83B-FC097E4B60F9}" srcOrd="1" destOrd="0" presId="urn:microsoft.com/office/officeart/2005/8/layout/orgChart1"/>
    <dgm:cxn modelId="{142E694E-475C-43FC-BA63-2BD193004473}" type="presParOf" srcId="{205AD7F6-CEF2-44C0-A5D9-F0411F661331}" destId="{566A0AF0-34ED-4A84-9D8B-A467A2CF6165}" srcOrd="2" destOrd="0" presId="urn:microsoft.com/office/officeart/2005/8/layout/orgChart1"/>
    <dgm:cxn modelId="{9C0B57BC-F97F-49DD-A7B7-7D3D042474D3}" type="presParOf" srcId="{0B5D8E01-A813-4D96-939E-0D6736A8A2AD}" destId="{7BC13D5F-D990-410D-A456-F660C2A182A3}" srcOrd="2" destOrd="0" presId="urn:microsoft.com/office/officeart/2005/8/layout/orgChart1"/>
    <dgm:cxn modelId="{0BA2E00C-3EDC-48AD-9FE5-62DDB6D44F76}" type="presParOf" srcId="{0B5D8E01-A813-4D96-939E-0D6736A8A2AD}" destId="{74A2B947-6E68-4539-B58B-70367EC3FD1D}" srcOrd="3" destOrd="0" presId="urn:microsoft.com/office/officeart/2005/8/layout/orgChart1"/>
    <dgm:cxn modelId="{21951CD0-070D-42FC-89A1-DED7D778AF36}" type="presParOf" srcId="{74A2B947-6E68-4539-B58B-70367EC3FD1D}" destId="{9950A637-C6BF-46C8-8472-0171F7465C14}" srcOrd="0" destOrd="0" presId="urn:microsoft.com/office/officeart/2005/8/layout/orgChart1"/>
    <dgm:cxn modelId="{B710C9EE-5F2B-4A99-8ECE-7460CE60C024}" type="presParOf" srcId="{9950A637-C6BF-46C8-8472-0171F7465C14}" destId="{459A40E7-99E1-4058-BC15-EEDF66E6D2E0}" srcOrd="0" destOrd="0" presId="urn:microsoft.com/office/officeart/2005/8/layout/orgChart1"/>
    <dgm:cxn modelId="{3C68C9CC-75D2-4959-9CC8-329D1A693E38}" type="presParOf" srcId="{9950A637-C6BF-46C8-8472-0171F7465C14}" destId="{43F397B8-5B45-4F1C-9D89-70B683871F84}" srcOrd="1" destOrd="0" presId="urn:microsoft.com/office/officeart/2005/8/layout/orgChart1"/>
    <dgm:cxn modelId="{8166364A-D6AE-4A45-ADE8-027D92F6538F}" type="presParOf" srcId="{74A2B947-6E68-4539-B58B-70367EC3FD1D}" destId="{0A0A7DF1-6071-49D1-B26E-34403F21AD60}" srcOrd="1" destOrd="0" presId="urn:microsoft.com/office/officeart/2005/8/layout/orgChart1"/>
    <dgm:cxn modelId="{5339FE1A-4B2A-45ED-B24F-6F8FA0CB0AB5}" type="presParOf" srcId="{74A2B947-6E68-4539-B58B-70367EC3FD1D}" destId="{E8B68CD7-B7D5-4276-8D62-E1C28405293F}" srcOrd="2" destOrd="0" presId="urn:microsoft.com/office/officeart/2005/8/layout/orgChart1"/>
    <dgm:cxn modelId="{A02815C0-6AF2-4023-B1EF-AE1075A32381}" type="presParOf" srcId="{0B5D8E01-A813-4D96-939E-0D6736A8A2AD}" destId="{C8ACE072-773B-452E-A28B-B39720F3DEDB}" srcOrd="4" destOrd="0" presId="urn:microsoft.com/office/officeart/2005/8/layout/orgChart1"/>
    <dgm:cxn modelId="{F36BE4F9-089D-4AB6-8E31-B28348660E3F}" type="presParOf" srcId="{0B5D8E01-A813-4D96-939E-0D6736A8A2AD}" destId="{A5BF97C9-2C41-455F-ACB2-4B8AF63A8781}" srcOrd="5" destOrd="0" presId="urn:microsoft.com/office/officeart/2005/8/layout/orgChart1"/>
    <dgm:cxn modelId="{61797923-574D-40FD-98AF-0E4E536332C3}" type="presParOf" srcId="{A5BF97C9-2C41-455F-ACB2-4B8AF63A8781}" destId="{AED79A7D-C989-435C-8625-2030DAA7B88D}" srcOrd="0" destOrd="0" presId="urn:microsoft.com/office/officeart/2005/8/layout/orgChart1"/>
    <dgm:cxn modelId="{6E5E0CD9-5E7E-453E-9140-3E9B614511A7}" type="presParOf" srcId="{AED79A7D-C989-435C-8625-2030DAA7B88D}" destId="{FC4E5F1A-E05F-405B-BFBD-554626F523D2}" srcOrd="0" destOrd="0" presId="urn:microsoft.com/office/officeart/2005/8/layout/orgChart1"/>
    <dgm:cxn modelId="{998C4056-2AEE-4B72-98B5-A8178DD191EE}" type="presParOf" srcId="{AED79A7D-C989-435C-8625-2030DAA7B88D}" destId="{26D4E000-66E0-4107-B62E-80AE73303250}" srcOrd="1" destOrd="0" presId="urn:microsoft.com/office/officeart/2005/8/layout/orgChart1"/>
    <dgm:cxn modelId="{47091A27-39FD-4A31-8B3D-D6CB3121C9C9}" type="presParOf" srcId="{A5BF97C9-2C41-455F-ACB2-4B8AF63A8781}" destId="{98E69473-8DD6-4E53-9CD6-34977EECF049}" srcOrd="1" destOrd="0" presId="urn:microsoft.com/office/officeart/2005/8/layout/orgChart1"/>
    <dgm:cxn modelId="{CD049111-BACB-481F-A7EA-1B5C4D35127A}" type="presParOf" srcId="{A5BF97C9-2C41-455F-ACB2-4B8AF63A8781}" destId="{D0F6290C-58A3-46E0-9AC5-BE66DF148038}" srcOrd="2" destOrd="0" presId="urn:microsoft.com/office/officeart/2005/8/layout/orgChart1"/>
    <dgm:cxn modelId="{7D290C08-E872-4F18-95F7-9AEE69AB6F95}" type="presParOf" srcId="{0B5D8E01-A813-4D96-939E-0D6736A8A2AD}" destId="{D6BA99AD-14AC-4E39-AA0D-325BB753826B}" srcOrd="6" destOrd="0" presId="urn:microsoft.com/office/officeart/2005/8/layout/orgChart1"/>
    <dgm:cxn modelId="{5BD114DD-D9A0-4975-B44A-A277EF8E1B64}" type="presParOf" srcId="{0B5D8E01-A813-4D96-939E-0D6736A8A2AD}" destId="{6270D18B-AEE7-4836-BD14-ECA1E212E28C}" srcOrd="7" destOrd="0" presId="urn:microsoft.com/office/officeart/2005/8/layout/orgChart1"/>
    <dgm:cxn modelId="{44D63780-1B30-48B1-9A22-01CF27624BE9}" type="presParOf" srcId="{6270D18B-AEE7-4836-BD14-ECA1E212E28C}" destId="{D8A2FBB4-814E-470F-BB6A-FBB620CE8E82}" srcOrd="0" destOrd="0" presId="urn:microsoft.com/office/officeart/2005/8/layout/orgChart1"/>
    <dgm:cxn modelId="{676E7840-09B7-42EB-9113-A4A0594A389F}" type="presParOf" srcId="{D8A2FBB4-814E-470F-BB6A-FBB620CE8E82}" destId="{6A812BE1-C649-45D2-A39A-E7D878105C29}" srcOrd="0" destOrd="0" presId="urn:microsoft.com/office/officeart/2005/8/layout/orgChart1"/>
    <dgm:cxn modelId="{6322FD45-DEF1-48D7-B978-1B122F00603D}" type="presParOf" srcId="{D8A2FBB4-814E-470F-BB6A-FBB620CE8E82}" destId="{2C63EE03-915E-47EF-9E30-6ABD6E9DABED}" srcOrd="1" destOrd="0" presId="urn:microsoft.com/office/officeart/2005/8/layout/orgChart1"/>
    <dgm:cxn modelId="{FB64B777-BA2F-403D-A90F-5EF2E47BFAD8}" type="presParOf" srcId="{6270D18B-AEE7-4836-BD14-ECA1E212E28C}" destId="{B3C01AEB-8F8D-4784-A205-8D565F9C539E}" srcOrd="1" destOrd="0" presId="urn:microsoft.com/office/officeart/2005/8/layout/orgChart1"/>
    <dgm:cxn modelId="{ABFAD408-8B64-444A-8FD5-DDCB8880AB57}" type="presParOf" srcId="{6270D18B-AEE7-4836-BD14-ECA1E212E28C}" destId="{BF929472-7276-4AF9-9924-39E735FA7422}" srcOrd="2" destOrd="0" presId="urn:microsoft.com/office/officeart/2005/8/layout/orgChart1"/>
    <dgm:cxn modelId="{468FCC1E-0AD9-4054-A7C0-B10950C263E9}" type="presParOf" srcId="{822614E6-FB8B-4203-917E-2B44269A09B9}" destId="{1664BA9C-B126-4E5E-B363-6061376172CD}" srcOrd="2" destOrd="0" presId="urn:microsoft.com/office/officeart/2005/8/layout/orgChart1"/>
    <dgm:cxn modelId="{D2CB0A36-D8F3-4BEE-A142-558C078592E3}" type="presParOf" srcId="{36776F8C-66BA-434D-A815-3F662251DCBA}" destId="{43CC3193-AC5F-46A4-8DE2-83C1128B4EB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BA99AD-14AC-4E39-AA0D-325BB753826B}">
      <dsp:nvSpPr>
        <dsp:cNvPr id="0" name=""/>
        <dsp:cNvSpPr/>
      </dsp:nvSpPr>
      <dsp:spPr>
        <a:xfrm>
          <a:off x="3037047" y="2103927"/>
          <a:ext cx="305730" cy="3797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97393"/>
              </a:lnTo>
              <a:lnTo>
                <a:pt x="305730" y="379739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ACE072-773B-452E-A28B-B39720F3DEDB}">
      <dsp:nvSpPr>
        <dsp:cNvPr id="0" name=""/>
        <dsp:cNvSpPr/>
      </dsp:nvSpPr>
      <dsp:spPr>
        <a:xfrm>
          <a:off x="3037047" y="2103927"/>
          <a:ext cx="305730" cy="2756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6409"/>
              </a:lnTo>
              <a:lnTo>
                <a:pt x="305730" y="275640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C13D5F-D990-410D-A456-F660C2A182A3}">
      <dsp:nvSpPr>
        <dsp:cNvPr id="0" name=""/>
        <dsp:cNvSpPr/>
      </dsp:nvSpPr>
      <dsp:spPr>
        <a:xfrm>
          <a:off x="3037047" y="2103927"/>
          <a:ext cx="305730" cy="17154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5424"/>
              </a:lnTo>
              <a:lnTo>
                <a:pt x="305730" y="17154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50B18A-F029-4E9C-8924-1A935D97DFC3}">
      <dsp:nvSpPr>
        <dsp:cNvPr id="0" name=""/>
        <dsp:cNvSpPr/>
      </dsp:nvSpPr>
      <dsp:spPr>
        <a:xfrm>
          <a:off x="3037047" y="2103927"/>
          <a:ext cx="305730" cy="6744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4440"/>
              </a:lnTo>
              <a:lnTo>
                <a:pt x="305730" y="6744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7B83B1-2B03-4DF1-A6E4-AD534C4CEFB2}">
      <dsp:nvSpPr>
        <dsp:cNvPr id="0" name=""/>
        <dsp:cNvSpPr/>
      </dsp:nvSpPr>
      <dsp:spPr>
        <a:xfrm>
          <a:off x="2806286" y="733830"/>
          <a:ext cx="1046042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3948"/>
              </a:lnTo>
              <a:lnTo>
                <a:pt x="1046042" y="153948"/>
              </a:lnTo>
              <a:lnTo>
                <a:pt x="1046042" y="3078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825B88-D523-47F6-BE01-74C6A7992497}">
      <dsp:nvSpPr>
        <dsp:cNvPr id="0" name=""/>
        <dsp:cNvSpPr/>
      </dsp:nvSpPr>
      <dsp:spPr>
        <a:xfrm>
          <a:off x="919561" y="2101882"/>
          <a:ext cx="267628" cy="37973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97393"/>
              </a:lnTo>
              <a:lnTo>
                <a:pt x="267628" y="379739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017D92-F883-41B1-A426-8FDAF149BFA3}">
      <dsp:nvSpPr>
        <dsp:cNvPr id="0" name=""/>
        <dsp:cNvSpPr/>
      </dsp:nvSpPr>
      <dsp:spPr>
        <a:xfrm>
          <a:off x="919561" y="2101882"/>
          <a:ext cx="267628" cy="2756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6409"/>
              </a:lnTo>
              <a:lnTo>
                <a:pt x="267628" y="275640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9E310B-7CEF-4F70-AFDE-5D7CF4E5D031}">
      <dsp:nvSpPr>
        <dsp:cNvPr id="0" name=""/>
        <dsp:cNvSpPr/>
      </dsp:nvSpPr>
      <dsp:spPr>
        <a:xfrm>
          <a:off x="919561" y="2101882"/>
          <a:ext cx="267628" cy="17154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15424"/>
              </a:lnTo>
              <a:lnTo>
                <a:pt x="267628" y="17154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648D1F-1F9D-41D3-842B-E7F8FB196D07}">
      <dsp:nvSpPr>
        <dsp:cNvPr id="0" name=""/>
        <dsp:cNvSpPr/>
      </dsp:nvSpPr>
      <dsp:spPr>
        <a:xfrm>
          <a:off x="919561" y="2101882"/>
          <a:ext cx="267628" cy="6744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4440"/>
              </a:lnTo>
              <a:lnTo>
                <a:pt x="267628" y="6744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0020DC-0A63-496D-9FA6-036D6756B605}">
      <dsp:nvSpPr>
        <dsp:cNvPr id="0" name=""/>
        <dsp:cNvSpPr/>
      </dsp:nvSpPr>
      <dsp:spPr>
        <a:xfrm>
          <a:off x="1633236" y="733830"/>
          <a:ext cx="1173050" cy="307896"/>
        </a:xfrm>
        <a:custGeom>
          <a:avLst/>
          <a:gdLst/>
          <a:ahLst/>
          <a:cxnLst/>
          <a:rect l="0" t="0" r="0" b="0"/>
          <a:pathLst>
            <a:path>
              <a:moveTo>
                <a:pt x="1173050" y="0"/>
              </a:moveTo>
              <a:lnTo>
                <a:pt x="1173050" y="153948"/>
              </a:lnTo>
              <a:lnTo>
                <a:pt x="0" y="153948"/>
              </a:lnTo>
              <a:lnTo>
                <a:pt x="0" y="3078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814BA7-8630-47A6-9F06-68069B60574C}">
      <dsp:nvSpPr>
        <dsp:cNvPr id="0" name=""/>
        <dsp:cNvSpPr/>
      </dsp:nvSpPr>
      <dsp:spPr>
        <a:xfrm>
          <a:off x="2073198" y="743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Organisering av </a:t>
          </a:r>
          <a:r>
            <a:rPr lang="nb-NO" sz="1100" kern="1200" dirty="0" err="1"/>
            <a:t>studiestartsarbeidet</a:t>
          </a:r>
          <a:endParaRPr lang="nb-NO" sz="1100" kern="1200" dirty="0"/>
        </a:p>
      </dsp:txBody>
      <dsp:txXfrm>
        <a:off x="2073198" y="743"/>
        <a:ext cx="1466175" cy="733087"/>
      </dsp:txXfrm>
    </dsp:sp>
    <dsp:sp modelId="{3DC0B0BB-DB83-4340-BEC4-E9F79B3BBE58}">
      <dsp:nvSpPr>
        <dsp:cNvPr id="0" name=""/>
        <dsp:cNvSpPr/>
      </dsp:nvSpPr>
      <dsp:spPr>
        <a:xfrm>
          <a:off x="741142" y="1041727"/>
          <a:ext cx="1784188" cy="10601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b="1" kern="1200" dirty="0"/>
            <a:t>Nettverk for studiestart</a:t>
          </a:r>
          <a:br>
            <a:rPr lang="nb-NO" sz="1100" b="1" kern="1200" dirty="0"/>
          </a:br>
          <a:r>
            <a:rPr lang="nb-NO" sz="1100" kern="1200" dirty="0"/>
            <a:t>(ledes av </a:t>
          </a:r>
          <a:r>
            <a:rPr lang="nb-NO" sz="1100" kern="1200" dirty="0" err="1"/>
            <a:t>studiestartskoordinator</a:t>
          </a:r>
          <a:r>
            <a:rPr lang="nb-NO" sz="1100" kern="1200" dirty="0"/>
            <a:t> ved AKS)</a:t>
          </a:r>
        </a:p>
      </dsp:txBody>
      <dsp:txXfrm>
        <a:off x="741142" y="1041727"/>
        <a:ext cx="1784188" cy="1060154"/>
      </dsp:txXfrm>
    </dsp:sp>
    <dsp:sp modelId="{58ED9816-40E4-4A5E-B01A-528FEA922F82}">
      <dsp:nvSpPr>
        <dsp:cNvPr id="0" name=""/>
        <dsp:cNvSpPr/>
      </dsp:nvSpPr>
      <dsp:spPr>
        <a:xfrm>
          <a:off x="1187189" y="2409778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 err="1"/>
            <a:t>Studiestartskoordinator</a:t>
          </a:r>
          <a:r>
            <a:rPr lang="nb-NO" sz="1100" kern="1200" dirty="0"/>
            <a:t> ved HF</a:t>
          </a:r>
        </a:p>
      </dsp:txBody>
      <dsp:txXfrm>
        <a:off x="1187189" y="2409778"/>
        <a:ext cx="1466175" cy="733087"/>
      </dsp:txXfrm>
    </dsp:sp>
    <dsp:sp modelId="{23F7396F-1946-434E-BC3D-77517FFF8499}">
      <dsp:nvSpPr>
        <dsp:cNvPr id="0" name=""/>
        <dsp:cNvSpPr/>
      </dsp:nvSpPr>
      <dsp:spPr>
        <a:xfrm>
          <a:off x="1187189" y="3450763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 err="1"/>
            <a:t>Studiestartskoordinator</a:t>
          </a:r>
          <a:r>
            <a:rPr lang="nb-NO" sz="1100" kern="1200" dirty="0"/>
            <a:t> ved SV</a:t>
          </a:r>
        </a:p>
      </dsp:txBody>
      <dsp:txXfrm>
        <a:off x="1187189" y="3450763"/>
        <a:ext cx="1466175" cy="733087"/>
      </dsp:txXfrm>
    </dsp:sp>
    <dsp:sp modelId="{D0A5A73C-410D-4D05-B18C-BA70CAD3240B}">
      <dsp:nvSpPr>
        <dsp:cNvPr id="0" name=""/>
        <dsp:cNvSpPr/>
      </dsp:nvSpPr>
      <dsp:spPr>
        <a:xfrm>
          <a:off x="1187189" y="4491747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 err="1"/>
            <a:t>Studiestartskoordinator</a:t>
          </a:r>
          <a:r>
            <a:rPr lang="nb-NO" sz="1100" kern="1200" dirty="0"/>
            <a:t> ved MN</a:t>
          </a:r>
        </a:p>
      </dsp:txBody>
      <dsp:txXfrm>
        <a:off x="1187189" y="4491747"/>
        <a:ext cx="1466175" cy="733087"/>
      </dsp:txXfrm>
    </dsp:sp>
    <dsp:sp modelId="{733C9AE2-EDF8-4F6A-BCCF-61197B0A5F72}">
      <dsp:nvSpPr>
        <dsp:cNvPr id="0" name=""/>
        <dsp:cNvSpPr/>
      </dsp:nvSpPr>
      <dsp:spPr>
        <a:xfrm>
          <a:off x="1187189" y="5532731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(også videre</a:t>
          </a:r>
        </a:p>
      </dsp:txBody>
      <dsp:txXfrm>
        <a:off x="1187189" y="5532731"/>
        <a:ext cx="1466175" cy="733087"/>
      </dsp:txXfrm>
    </dsp:sp>
    <dsp:sp modelId="{28BE559F-64E3-4BA8-A7A6-47AB5F281404}">
      <dsp:nvSpPr>
        <dsp:cNvPr id="0" name=""/>
        <dsp:cNvSpPr/>
      </dsp:nvSpPr>
      <dsp:spPr>
        <a:xfrm>
          <a:off x="2833227" y="1041727"/>
          <a:ext cx="2038203" cy="1062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b="1" kern="1200" dirty="0"/>
            <a:t>Faddersjefnettverket</a:t>
          </a:r>
          <a:br>
            <a:rPr lang="nb-NO" sz="1100" b="1" kern="1200" dirty="0"/>
          </a:br>
          <a:r>
            <a:rPr lang="nb-NO" sz="1100" kern="1200" dirty="0"/>
            <a:t>(ledes av faddersjefkoordinator ved AKS)</a:t>
          </a:r>
        </a:p>
      </dsp:txBody>
      <dsp:txXfrm>
        <a:off x="2833227" y="1041727"/>
        <a:ext cx="2038203" cy="1062199"/>
      </dsp:txXfrm>
    </dsp:sp>
    <dsp:sp modelId="{629C211E-C763-4FA7-A373-629BAA97705F}">
      <dsp:nvSpPr>
        <dsp:cNvPr id="0" name=""/>
        <dsp:cNvSpPr/>
      </dsp:nvSpPr>
      <dsp:spPr>
        <a:xfrm>
          <a:off x="3342778" y="2411824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Faddersjef ved HF</a:t>
          </a:r>
        </a:p>
      </dsp:txBody>
      <dsp:txXfrm>
        <a:off x="3342778" y="2411824"/>
        <a:ext cx="1466175" cy="733087"/>
      </dsp:txXfrm>
    </dsp:sp>
    <dsp:sp modelId="{459A40E7-99E1-4058-BC15-EEDF66E6D2E0}">
      <dsp:nvSpPr>
        <dsp:cNvPr id="0" name=""/>
        <dsp:cNvSpPr/>
      </dsp:nvSpPr>
      <dsp:spPr>
        <a:xfrm>
          <a:off x="3342778" y="3452808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Faddersjef ved SV</a:t>
          </a:r>
        </a:p>
      </dsp:txBody>
      <dsp:txXfrm>
        <a:off x="3342778" y="3452808"/>
        <a:ext cx="1466175" cy="733087"/>
      </dsp:txXfrm>
    </dsp:sp>
    <dsp:sp modelId="{FC4E5F1A-E05F-405B-BFBD-554626F523D2}">
      <dsp:nvSpPr>
        <dsp:cNvPr id="0" name=""/>
        <dsp:cNvSpPr/>
      </dsp:nvSpPr>
      <dsp:spPr>
        <a:xfrm>
          <a:off x="3342778" y="4493792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Faddersjef ved MN</a:t>
          </a:r>
        </a:p>
      </dsp:txBody>
      <dsp:txXfrm>
        <a:off x="3342778" y="4493792"/>
        <a:ext cx="1466175" cy="733087"/>
      </dsp:txXfrm>
    </dsp:sp>
    <dsp:sp modelId="{6A812BE1-C649-45D2-A39A-E7D878105C29}">
      <dsp:nvSpPr>
        <dsp:cNvPr id="0" name=""/>
        <dsp:cNvSpPr/>
      </dsp:nvSpPr>
      <dsp:spPr>
        <a:xfrm>
          <a:off x="3342778" y="5534777"/>
          <a:ext cx="1466175" cy="7330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 dirty="0"/>
            <a:t>(også videre)</a:t>
          </a:r>
        </a:p>
      </dsp:txBody>
      <dsp:txXfrm>
        <a:off x="3342778" y="5534777"/>
        <a:ext cx="1466175" cy="7330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" name="Text Placeholder 1">
            <a:extLst>
              <a:ext uri="{FF2B5EF4-FFF2-40B4-BE49-F238E27FC236}">
                <a16:creationId xmlns:a16="http://schemas.microsoft.com/office/drawing/2014/main" id="{C6E4E52D-49B1-36B9-D91E-6F3CCB0129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4100" name="Picture 4" descr="En mann smiler til kamera på en sykkel.">
            <a:extLst>
              <a:ext uri="{FF2B5EF4-FFF2-40B4-BE49-F238E27FC236}">
                <a16:creationId xmlns:a16="http://schemas.microsoft.com/office/drawing/2014/main" id="{CD54BDDB-67CC-4119-A2D7-05AB7F19C5A2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2"/>
          <a:stretch/>
        </p:blipFill>
        <p:spPr bwMode="auto">
          <a:xfrm>
            <a:off x="6209880" y="10"/>
            <a:ext cx="598212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18" name="Text Placeholder 3">
            <a:extLst>
              <a:ext uri="{FF2B5EF4-FFF2-40B4-BE49-F238E27FC236}">
                <a16:creationId xmlns:a16="http://schemas.microsoft.com/office/drawing/2014/main" id="{FF8B7E3C-A399-47FB-E700-81D0AFEEBC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6112" y="381854"/>
            <a:ext cx="5619582" cy="1116919"/>
          </a:xfrm>
        </p:spPr>
        <p:txBody>
          <a:bodyPr/>
          <a:lstStyle/>
          <a:p>
            <a:endParaRPr lang="en-US"/>
          </a:p>
        </p:txBody>
      </p:sp>
      <p:sp>
        <p:nvSpPr>
          <p:cNvPr id="5" name="Undertittel 4"/>
          <p:cNvSpPr>
            <a:spLocks noGrp="1"/>
          </p:cNvSpPr>
          <p:nvPr>
            <p:ph type="subTitle" idx="1"/>
          </p:nvPr>
        </p:nvSpPr>
        <p:spPr>
          <a:xfrm>
            <a:off x="383800" y="5199013"/>
            <a:ext cx="5716962" cy="258079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dirty="0"/>
              <a:t>Ingunn Wiig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5"/>
          </p:nvPr>
        </p:nvSpPr>
        <p:spPr>
          <a:xfrm>
            <a:off x="386112" y="5641368"/>
            <a:ext cx="5716962" cy="22628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1600" dirty="0"/>
              <a:t>Avdeling for kommunikasjon og samfunnskontakt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b-NO" dirty="0"/>
              <a:t>30. August 2022</a:t>
            </a:r>
          </a:p>
        </p:txBody>
      </p:sp>
      <p:sp>
        <p:nvSpPr>
          <p:cNvPr id="4122" name="Text Placeholder 8">
            <a:extLst>
              <a:ext uri="{FF2B5EF4-FFF2-40B4-BE49-F238E27FC236}">
                <a16:creationId xmlns:a16="http://schemas.microsoft.com/office/drawing/2014/main" id="{2E13FF43-35C0-869F-5DFD-FE98950F35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 anchor="t">
            <a:normAutofit/>
          </a:bodyPr>
          <a:lstStyle/>
          <a:p>
            <a:r>
              <a:rPr lang="nb-NO" dirty="0"/>
              <a:t>Studiestart 2022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20"/>
          </p:nvPr>
        </p:nvSpPr>
        <p:spPr>
          <a:xfrm>
            <a:off x="379038" y="4237730"/>
            <a:ext cx="5716962" cy="7572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Utdanningskomiteen</a:t>
            </a:r>
          </a:p>
        </p:txBody>
      </p:sp>
      <p:sp>
        <p:nvSpPr>
          <p:cNvPr id="27" name="Plassholder for tekst 5">
            <a:extLst>
              <a:ext uri="{FF2B5EF4-FFF2-40B4-BE49-F238E27FC236}">
                <a16:creationId xmlns:a16="http://schemas.microsoft.com/office/drawing/2014/main" id="{DABB0BEF-36EF-4236-852E-E3A08C082C66}"/>
              </a:ext>
            </a:extLst>
          </p:cNvPr>
          <p:cNvSpPr txBox="1">
            <a:spLocks/>
          </p:cNvSpPr>
          <p:nvPr/>
        </p:nvSpPr>
        <p:spPr>
          <a:xfrm>
            <a:off x="386112" y="5379517"/>
            <a:ext cx="5716962" cy="2262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nb-NO" sz="1600" dirty="0"/>
              <a:t>seksjonssjef</a:t>
            </a:r>
          </a:p>
        </p:txBody>
      </p:sp>
    </p:spTree>
    <p:extLst>
      <p:ext uri="{BB962C8B-B14F-4D97-AF65-F5344CB8AC3E}">
        <p14:creationId xmlns:p14="http://schemas.microsoft.com/office/powerpoint/2010/main" val="1371422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9" r="24009"/>
          <a:stretch>
            <a:fillRect/>
          </a:stretch>
        </p:blipFill>
        <p:spPr>
          <a:xfrm>
            <a:off x="7081115" y="360045"/>
            <a:ext cx="4750840" cy="6093084"/>
          </a:xfrm>
        </p:spPr>
      </p:pic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ar, ferdig, UiO!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2. september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3" y="1757499"/>
            <a:ext cx="6399201" cy="4301103"/>
          </a:xfrm>
        </p:spPr>
        <p:txBody>
          <a:bodyPr/>
          <a:lstStyle/>
          <a:p>
            <a:r>
              <a:rPr lang="nb-NO" dirty="0"/>
              <a:t>Introduksjon til studenttilværelsen</a:t>
            </a:r>
          </a:p>
          <a:p>
            <a:r>
              <a:rPr lang="nb-NO" dirty="0"/>
              <a:t>I Georg Sverdrups hus</a:t>
            </a:r>
          </a:p>
          <a:p>
            <a:r>
              <a:rPr lang="nb-NO" dirty="0"/>
              <a:t>Foredrag med fokus på mestring, studieteknikk og studieverktøy</a:t>
            </a:r>
          </a:p>
          <a:p>
            <a:r>
              <a:rPr lang="nb-NO" dirty="0"/>
              <a:t>Stands med ulike studentstøttetjenester i vestibylen</a:t>
            </a:r>
          </a:p>
        </p:txBody>
      </p:sp>
    </p:spTree>
    <p:extLst>
      <p:ext uri="{BB962C8B-B14F-4D97-AF65-F5344CB8AC3E}">
        <p14:creationId xmlns:p14="http://schemas.microsoft.com/office/powerpoint/2010/main" val="2084576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50" b="7250"/>
          <a:stretch>
            <a:fillRect/>
          </a:stretch>
        </p:blipFill>
        <p:spPr>
          <a:xfrm>
            <a:off x="6844748" y="0"/>
            <a:ext cx="5347252" cy="6857999"/>
          </a:xfrm>
        </p:spPr>
      </p:pic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mbruksdag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24. august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På Frederikkeplassen</a:t>
            </a:r>
          </a:p>
          <a:p>
            <a:r>
              <a:rPr lang="nb-NO" dirty="0"/>
              <a:t>Tilbud og aktiviteter med fokus på bærekraft, framtid og gjenbruk.</a:t>
            </a:r>
          </a:p>
          <a:p>
            <a:r>
              <a:rPr lang="nb-NO" dirty="0"/>
              <a:t>Ombruksmarked, kurs, reparasjon m.m.</a:t>
            </a:r>
          </a:p>
        </p:txBody>
      </p:sp>
    </p:spTree>
    <p:extLst>
      <p:ext uri="{BB962C8B-B14F-4D97-AF65-F5344CB8AC3E}">
        <p14:creationId xmlns:p14="http://schemas.microsoft.com/office/powerpoint/2010/main" val="3500058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7C7472-3786-4FCD-ABDD-7E0C42C5B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125" name="Picture 1">
            <a:extLst>
              <a:ext uri="{FF2B5EF4-FFF2-40B4-BE49-F238E27FC236}">
                <a16:creationId xmlns:a16="http://schemas.microsoft.com/office/drawing/2014/main" id="{3BA6F5BA-5397-4A69-960C-598284E7AA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913" y="-44851"/>
            <a:ext cx="6394748" cy="6940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1E2D880-9BD8-4E27-8B32-4057A683AE48}"/>
              </a:ext>
            </a:extLst>
          </p:cNvPr>
          <p:cNvSpPr txBox="1"/>
          <p:nvPr/>
        </p:nvSpPr>
        <p:spPr>
          <a:xfrm>
            <a:off x="892277" y="594472"/>
            <a:ext cx="2651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Nora og </a:t>
            </a:r>
            <a:r>
              <a:rPr lang="nb-NO" sz="1400" dirty="0" err="1"/>
              <a:t>Romvy</a:t>
            </a:r>
            <a:r>
              <a:rPr lang="nb-NO" sz="1400" dirty="0"/>
              <a:t> følges i 4 uker </a:t>
            </a:r>
          </a:p>
        </p:txBody>
      </p:sp>
      <p:pic>
        <p:nvPicPr>
          <p:cNvPr id="5126" name="510679B0-C4D9-49EA-ACFB-FD8370B52866" descr="Skjermbilde 2022–08–29 kl. 16.17.33.png">
            <a:extLst>
              <a:ext uri="{FF2B5EF4-FFF2-40B4-BE49-F238E27FC236}">
                <a16:creationId xmlns:a16="http://schemas.microsoft.com/office/drawing/2014/main" id="{B9FAA1F9-EC7B-460F-BD4D-AA93C0852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760" y="1516391"/>
            <a:ext cx="2489257" cy="4474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1127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udentslippet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3.- 9. september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Samarbeidsarrangement mellom UiO, </a:t>
            </a:r>
            <a:r>
              <a:rPr lang="nb-NO" dirty="0" err="1"/>
              <a:t>OsloMet</a:t>
            </a:r>
            <a:r>
              <a:rPr lang="nb-NO" dirty="0"/>
              <a:t>, HK, BI og </a:t>
            </a:r>
            <a:r>
              <a:rPr lang="nb-NO" dirty="0" err="1"/>
              <a:t>SiO</a:t>
            </a:r>
            <a:endParaRPr lang="nb-NO" dirty="0"/>
          </a:p>
          <a:p>
            <a:r>
              <a:rPr lang="nb-NO" dirty="0"/>
              <a:t>Skape fellesskap og tilhørighet til Oslo som studentby</a:t>
            </a:r>
          </a:p>
          <a:p>
            <a:r>
              <a:rPr lang="nb-NO" dirty="0"/>
              <a:t>Et stort utvalg gratisaktiviteter</a:t>
            </a:r>
          </a:p>
          <a:p>
            <a:pPr lvl="1"/>
            <a:r>
              <a:rPr lang="nb-NO" dirty="0"/>
              <a:t>Både dagaktiviteter og kveldsaktiviteter</a:t>
            </a:r>
          </a:p>
          <a:p>
            <a:pPr lvl="1"/>
            <a:r>
              <a:rPr lang="nb-NO" dirty="0"/>
              <a:t>Omvisninger, friluftsaktiviteter, kulturopplevelser og sammenkomster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4240" y="360045"/>
            <a:ext cx="5371861" cy="1496638"/>
          </a:xfrm>
          <a:prstGeom prst="rect">
            <a:avLst/>
          </a:prstGeom>
        </p:spPr>
      </p:pic>
      <p:pic>
        <p:nvPicPr>
          <p:cNvPr id="10" name="Picture 2" descr="Stand Up Paddling introkurs - Kjøp opplevelsen fra 590 kr | YouWish.n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8" r="22148"/>
          <a:stretch/>
        </p:blipFill>
        <p:spPr bwMode="auto">
          <a:xfrm>
            <a:off x="9013007" y="1999367"/>
            <a:ext cx="2160000" cy="216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ngen bildebeskrivelse er tilgjengelig.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5" r="16675"/>
          <a:stretch/>
        </p:blipFill>
        <p:spPr bwMode="auto">
          <a:xfrm>
            <a:off x="6521319" y="2019548"/>
            <a:ext cx="2160000" cy="216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Prøv Innendørs Paintball midt i Oslo sentrum - Megazone Oslo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0" r="16660"/>
          <a:stretch/>
        </p:blipFill>
        <p:spPr bwMode="auto">
          <a:xfrm>
            <a:off x="9031630" y="4342413"/>
            <a:ext cx="2160000" cy="216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" descr="Hjem_bookbaat.no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5" r="24915"/>
          <a:stretch/>
        </p:blipFill>
        <p:spPr bwMode="auto">
          <a:xfrm>
            <a:off x="6521319" y="4342413"/>
            <a:ext cx="2160000" cy="216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utoShape 2" descr="https://euc-powerpoint.officeapps.live.com/pods/GetClipboardImage.ashx?Id=89e16ff9-cc97-4727-a329-f048a1b7fa1e&amp;DC=GEU6&amp;pkey=7e30f0bf-ddd0-48cb-9c30-3bf8960a438b&amp;wdwaccluster=GEU6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16" name="AutoShape 4" descr="https://euc-powerpoint.officeapps.live.com/pods/GetClipboardImage.ashx?Id=53b8b460-c855-4bc1-a6d4-3af09ecc8aaa&amp;DC=GEU6&amp;pkey=59a5d21c-11fe-430a-9cb4-17016dd363f8&amp;wdwaccluster=GEU6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9398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Organisering (1/2)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amarbeid mellom fakultetene og LOS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3" y="1569175"/>
            <a:ext cx="6084041" cy="4783499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1800" dirty="0">
                <a:solidFill>
                  <a:srgbClr val="000000"/>
                </a:solidFill>
              </a:rPr>
              <a:t>En ansattlinje og en studentlinje. Hvert fakultet bidrar med representasjon til Nettverk for studiestart og faddersjef(er) til Faddersjefnettverket</a:t>
            </a:r>
          </a:p>
          <a:p>
            <a:pPr>
              <a:buClr>
                <a:srgbClr val="000000"/>
              </a:buClr>
            </a:pPr>
            <a:r>
              <a:rPr lang="nb-NO" sz="1800" dirty="0" err="1">
                <a:solidFill>
                  <a:srgbClr val="000000"/>
                </a:solidFill>
              </a:rPr>
              <a:t>Studiestartsnettverket</a:t>
            </a:r>
            <a:endParaRPr lang="nb-NO" sz="1800" dirty="0">
              <a:solidFill>
                <a:srgbClr val="000000"/>
              </a:solidFill>
            </a:endParaRP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Ledes av </a:t>
            </a:r>
            <a:r>
              <a:rPr lang="nb-NO" sz="1600" dirty="0" err="1">
                <a:solidFill>
                  <a:srgbClr val="000000"/>
                </a:solidFill>
              </a:rPr>
              <a:t>studiestartskoordinator</a:t>
            </a:r>
            <a:r>
              <a:rPr lang="nb-NO" sz="1600" dirty="0">
                <a:solidFill>
                  <a:srgbClr val="000000"/>
                </a:solidFill>
              </a:rPr>
              <a:t> ved AKS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Koordinering av rammer, kommunikasjon og mottak av internasjonale studenter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Utveksling av erfaring og god praksiser</a:t>
            </a:r>
          </a:p>
          <a:p>
            <a:pPr>
              <a:buClr>
                <a:srgbClr val="000000"/>
              </a:buClr>
            </a:pPr>
            <a:r>
              <a:rPr lang="nb-NO" sz="1800" dirty="0">
                <a:solidFill>
                  <a:srgbClr val="000000"/>
                </a:solidFill>
              </a:rPr>
              <a:t>Faddersjefnettverket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Ledes av faddersjefkoordinatorer ved AKS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Består ellers av faddersjefene ved fakultetene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Skaffer forankring blant studentene i forhold som angår mottak av nye studenter og fadderordning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Kompetansebygging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Utveksling av erfaring og gode praksiser</a:t>
            </a:r>
            <a:endParaRPr lang="nb-NO" sz="2400" dirty="0">
              <a:solidFill>
                <a:srgbClr val="000000"/>
              </a:solidFill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4230806290"/>
              </p:ext>
            </p:extLst>
          </p:nvPr>
        </p:nvGraphicFramePr>
        <p:xfrm>
          <a:off x="6091747" y="244542"/>
          <a:ext cx="5612573" cy="6268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21686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Organisering (2/2)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Ansvarsfordeling mellom fakultetene og LOS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4" y="1569175"/>
            <a:ext cx="8727200" cy="4535233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2000" dirty="0">
                <a:solidFill>
                  <a:srgbClr val="000000"/>
                </a:solidFill>
              </a:rPr>
              <a:t>Avdeling for kommunikasjon og samfunnskontakt har ansvar for å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Lede studiestartnettverket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Sette og følge opp </a:t>
            </a:r>
            <a:r>
              <a:rPr lang="nb-NO" sz="1600" dirty="0" err="1">
                <a:solidFill>
                  <a:srgbClr val="000000"/>
                </a:solidFill>
              </a:rPr>
              <a:t>årshjul</a:t>
            </a:r>
            <a:endParaRPr lang="nb-NO" sz="1600" dirty="0">
              <a:solidFill>
                <a:srgbClr val="000000"/>
              </a:solidFill>
            </a:endParaRP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Arrangere sentrale arrangementer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Koordinere overordnede føringer på kommunikasjon på nett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Forankre fadderopplæring i begge nettverk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Kjøpe inn og distribuere faddergoder til fakultetene</a:t>
            </a:r>
          </a:p>
          <a:p>
            <a:pPr>
              <a:buClr>
                <a:srgbClr val="000000"/>
              </a:buClr>
            </a:pPr>
            <a:r>
              <a:rPr lang="nb-NO" sz="2000" dirty="0">
                <a:solidFill>
                  <a:srgbClr val="000000"/>
                </a:solidFill>
              </a:rPr>
              <a:t>Fakultetene har ansvar for å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Koordinere studiestart internt på fakultetet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Ta imot de nye studentene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Lage et lokalt studiestartprogram i uke 33 (ev. uke 32 for enkelte)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Engasjere faddersjef som møter i faddersjefnettverket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Rekruttere faddere</a:t>
            </a:r>
          </a:p>
          <a:p>
            <a:pPr lvl="1">
              <a:buClr>
                <a:srgbClr val="000000"/>
              </a:buClr>
            </a:pPr>
            <a:r>
              <a:rPr lang="nb-NO" sz="1600" dirty="0">
                <a:solidFill>
                  <a:srgbClr val="000000"/>
                </a:solidFill>
              </a:rPr>
              <a:t>Gi opplæring til faddere</a:t>
            </a:r>
          </a:p>
          <a:p>
            <a:pPr lvl="1">
              <a:buClr>
                <a:srgbClr val="000000"/>
              </a:buClr>
            </a:pPr>
            <a:endParaRPr lang="nb-NO" sz="1000" dirty="0">
              <a:solidFill>
                <a:srgbClr val="000000"/>
              </a:solidFill>
            </a:endParaRPr>
          </a:p>
          <a:p>
            <a:pPr marL="457223" lvl="1" indent="0">
              <a:buClr>
                <a:srgbClr val="000000"/>
              </a:buClr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664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360044" y="673476"/>
            <a:ext cx="9559367" cy="542658"/>
          </a:xfrm>
        </p:spPr>
        <p:txBody>
          <a:bodyPr/>
          <a:lstStyle/>
          <a:p>
            <a:r>
              <a:rPr lang="nb-NO" sz="2800" dirty="0"/>
              <a:t>Hvem kom til UiO i august?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4" y="1577475"/>
            <a:ext cx="11066298" cy="4485682"/>
          </a:xfrm>
        </p:spPr>
        <p:txBody>
          <a:bodyPr/>
          <a:lstStyle/>
          <a:p>
            <a:r>
              <a:rPr lang="nb-NO" sz="2000" dirty="0"/>
              <a:t>7 185 takket ja til studieplassen i 2022 (litt i overkant av 500 av disse er med oppstart i vårsemesteret</a:t>
            </a:r>
          </a:p>
          <a:p>
            <a:r>
              <a:rPr lang="nb-NO" sz="2000" dirty="0"/>
              <a:t>Antall innreisende studenter høst 2022: 1244 internasjonale studenter, hvorav 959 utvekslings- og 285 masterstudenter på helgrad</a:t>
            </a:r>
            <a:r>
              <a:rPr lang="nb-NO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.</a:t>
            </a:r>
            <a:endParaRPr lang="nb-NO" sz="2000" dirty="0"/>
          </a:p>
          <a:p>
            <a:r>
              <a:rPr lang="nb-NO" sz="2000" b="1" dirty="0"/>
              <a:t>Kjønn:</a:t>
            </a:r>
            <a:r>
              <a:rPr lang="nb-NO" sz="2000" dirty="0"/>
              <a:t> 60% kvinner, 40% menn </a:t>
            </a:r>
          </a:p>
          <a:p>
            <a:r>
              <a:rPr lang="nb-NO" sz="2000" b="1" dirty="0"/>
              <a:t>Alder:</a:t>
            </a:r>
            <a:r>
              <a:rPr lang="nb-NO" sz="2000" dirty="0"/>
              <a:t> 38% er 20 eller yngre, 63% er 23 eller yngre i 2021</a:t>
            </a:r>
          </a:p>
          <a:p>
            <a:r>
              <a:rPr lang="nb-NO" sz="2000" b="1" dirty="0"/>
              <a:t>Geografi:</a:t>
            </a:r>
            <a:r>
              <a:rPr lang="nb-NO" sz="2000" dirty="0"/>
              <a:t> 40% fra Oslo, 40% fra resten av Østlandet og 20% fra utenfor Østlandet (søkertall 2022).</a:t>
            </a:r>
          </a:p>
          <a:p>
            <a:r>
              <a:rPr lang="nb-NO" sz="2000" b="1" dirty="0"/>
              <a:t>I Oslo</a:t>
            </a:r>
            <a:r>
              <a:rPr lang="nb-NO" sz="2000" dirty="0"/>
              <a:t> deltar ca. 60% av de nye studentene i </a:t>
            </a:r>
            <a:r>
              <a:rPr lang="nb-NO" sz="2000" dirty="0" err="1"/>
              <a:t>studiestartsuka</a:t>
            </a:r>
            <a:r>
              <a:rPr lang="nb-NO" sz="2000" dirty="0"/>
              <a:t> (</a:t>
            </a:r>
            <a:r>
              <a:rPr lang="nb-NO" sz="2000" dirty="0" err="1"/>
              <a:t>SHoT</a:t>
            </a:r>
            <a:r>
              <a:rPr lang="nb-NO" sz="2000" dirty="0"/>
              <a:t>-undersøkelsen).</a:t>
            </a:r>
          </a:p>
        </p:txBody>
      </p:sp>
    </p:spTree>
    <p:extLst>
      <p:ext uri="{BB962C8B-B14F-4D97-AF65-F5344CB8AC3E}">
        <p14:creationId xmlns:p14="http://schemas.microsoft.com/office/powerpoint/2010/main" val="677990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3" y="1757499"/>
            <a:ext cx="4131489" cy="4301103"/>
          </a:xfrm>
        </p:spPr>
        <p:txBody>
          <a:bodyPr/>
          <a:lstStyle/>
          <a:p>
            <a:r>
              <a:rPr lang="nb-NO" dirty="0"/>
              <a:t>Å bli kjent med medstudenter er det klart viktigste</a:t>
            </a:r>
          </a:p>
          <a:p>
            <a:pPr lvl="1"/>
            <a:r>
              <a:rPr lang="nb-NO" dirty="0"/>
              <a:t>Noe mer frekvent valg blant søkere som har studert før</a:t>
            </a:r>
          </a:p>
          <a:p>
            <a:pPr lvl="1"/>
            <a:r>
              <a:rPr lang="nb-NO" dirty="0"/>
              <a:t>Ikke mindre frekvent blant søkere fra Oslo.</a:t>
            </a:r>
          </a:p>
          <a:p>
            <a:pPr lvl="1"/>
            <a:r>
              <a:rPr lang="nb-NO" dirty="0"/>
              <a:t>Svake eller ingen forskjeller mellom kjønn</a:t>
            </a:r>
          </a:p>
          <a:p>
            <a:endParaRPr lang="nb-NO" dirty="0"/>
          </a:p>
        </p:txBody>
      </p:sp>
      <p:sp>
        <p:nvSpPr>
          <p:cNvPr id="11" name="Tittel 5"/>
          <p:cNvSpPr txBox="1">
            <a:spLocks/>
          </p:cNvSpPr>
          <p:nvPr/>
        </p:nvSpPr>
        <p:spPr>
          <a:xfrm>
            <a:off x="360045" y="360045"/>
            <a:ext cx="5078230" cy="5426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2800" dirty="0"/>
              <a:t>Søkerundersøkelsen</a:t>
            </a:r>
          </a:p>
        </p:txBody>
      </p:sp>
      <p:graphicFrame>
        <p:nvGraphicFramePr>
          <p:cNvPr id="10" name="Plassholder for diagram 6">
            <a:extLst>
              <a:ext uri="{FF2B5EF4-FFF2-40B4-BE49-F238E27FC236}">
                <a16:creationId xmlns:a16="http://schemas.microsoft.com/office/drawing/2014/main" id="{EE246EC2-0AD2-40F4-A582-C4E5A7BF1E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738580"/>
              </p:ext>
            </p:extLst>
          </p:nvPr>
        </p:nvGraphicFramePr>
        <p:xfrm>
          <a:off x="4696342" y="779646"/>
          <a:ext cx="7274585" cy="584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56263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dderordning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4" y="1428315"/>
            <a:ext cx="5489214" cy="4506029"/>
          </a:xfrm>
        </p:spPr>
        <p:txBody>
          <a:bodyPr/>
          <a:lstStyle/>
          <a:p>
            <a:r>
              <a:rPr lang="nb-NO" sz="2200" dirty="0"/>
              <a:t>1000 faddere</a:t>
            </a:r>
          </a:p>
          <a:p>
            <a:r>
              <a:rPr lang="nb-NO" sz="2200" dirty="0"/>
              <a:t>Viktige rollemodeller for de nye studentene, og det viktigste middelet vi har for å ta imot de nye studentene på en god måte</a:t>
            </a:r>
          </a:p>
          <a:p>
            <a:r>
              <a:rPr lang="nb-NO" sz="2200" dirty="0"/>
              <a:t>Fadderne rekrutteres og følges opp av fakultetene</a:t>
            </a:r>
          </a:p>
          <a:p>
            <a:r>
              <a:rPr lang="nb-NO" sz="2200" dirty="0"/>
              <a:t>Fadderne får en grundig, todelt opplæring</a:t>
            </a:r>
          </a:p>
          <a:p>
            <a:pPr lvl="1"/>
            <a:r>
              <a:rPr lang="nb-NO" dirty="0"/>
              <a:t>Canvaskurs</a:t>
            </a:r>
          </a:p>
          <a:p>
            <a:pPr lvl="1"/>
            <a:r>
              <a:rPr lang="nb-NO" dirty="0"/>
              <a:t>Fellesopplæring</a:t>
            </a:r>
          </a:p>
          <a:p>
            <a:r>
              <a:rPr lang="nb-NO" sz="2200" dirty="0"/>
              <a:t>Faddervettreglen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26601"/>
            <a:ext cx="5781850" cy="3854566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6084469" y="4469296"/>
            <a:ext cx="5781367" cy="2062103"/>
          </a:xfrm>
          <a:prstGeom prst="rect">
            <a:avLst/>
          </a:prstGeom>
          <a:solidFill>
            <a:srgbClr val="CEFFDF"/>
          </a:solidFill>
        </p:spPr>
        <p:txBody>
          <a:bodyPr wrap="square">
            <a:spAutoFit/>
          </a:bodyPr>
          <a:lstStyle/>
          <a:p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1. Vær et godt forbilde!</a:t>
            </a:r>
            <a:r>
              <a:rPr lang="nb-NO" sz="1600" dirty="0">
                <a:solidFill>
                  <a:srgbClr val="2D3B45"/>
                </a:solidFill>
                <a:latin typeface="Lato Extended"/>
              </a:rPr>
              <a:t/>
            </a:r>
            <a:br>
              <a:rPr lang="nb-NO" sz="1600" dirty="0">
                <a:solidFill>
                  <a:srgbClr val="2D3B45"/>
                </a:solidFill>
                <a:latin typeface="Lato Extended"/>
              </a:rPr>
            </a:br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2. Respekter andres grenser for alkohol, humor og flørt!</a:t>
            </a:r>
            <a:r>
              <a:rPr lang="nb-NO" sz="1600" dirty="0">
                <a:solidFill>
                  <a:srgbClr val="2D3B45"/>
                </a:solidFill>
                <a:latin typeface="Lato Extended"/>
              </a:rPr>
              <a:t/>
            </a:r>
            <a:br>
              <a:rPr lang="nb-NO" sz="1600" dirty="0">
                <a:solidFill>
                  <a:srgbClr val="2D3B45"/>
                </a:solidFill>
                <a:latin typeface="Lato Extended"/>
              </a:rPr>
            </a:br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3. Inkluder alle!</a:t>
            </a:r>
            <a:r>
              <a:rPr lang="nb-NO" sz="1600" dirty="0">
                <a:solidFill>
                  <a:srgbClr val="2D3B45"/>
                </a:solidFill>
                <a:latin typeface="Lato Extended"/>
              </a:rPr>
              <a:t/>
            </a:r>
            <a:br>
              <a:rPr lang="nb-NO" sz="1600" dirty="0">
                <a:solidFill>
                  <a:srgbClr val="2D3B45"/>
                </a:solidFill>
                <a:latin typeface="Lato Extended"/>
              </a:rPr>
            </a:br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4. Ta vare på gruppa di!</a:t>
            </a:r>
            <a:r>
              <a:rPr lang="nb-NO" sz="1600" dirty="0">
                <a:solidFill>
                  <a:srgbClr val="2D3B45"/>
                </a:solidFill>
                <a:latin typeface="Lato Extended"/>
              </a:rPr>
              <a:t/>
            </a:r>
            <a:br>
              <a:rPr lang="nb-NO" sz="1600" dirty="0">
                <a:solidFill>
                  <a:srgbClr val="2D3B45"/>
                </a:solidFill>
                <a:latin typeface="Lato Extended"/>
              </a:rPr>
            </a:br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5. Hold deg og gruppa di oppdatert!</a:t>
            </a:r>
            <a:r>
              <a:rPr lang="nb-NO" sz="1600" dirty="0">
                <a:solidFill>
                  <a:srgbClr val="2D3B45"/>
                </a:solidFill>
                <a:latin typeface="Lato Extended"/>
              </a:rPr>
              <a:t/>
            </a:r>
            <a:br>
              <a:rPr lang="nb-NO" sz="1600" dirty="0">
                <a:solidFill>
                  <a:srgbClr val="2D3B45"/>
                </a:solidFill>
                <a:latin typeface="Lato Extended"/>
              </a:rPr>
            </a:br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6. Drikk med måte!</a:t>
            </a:r>
            <a:endParaRPr lang="nb-NO" sz="1600" dirty="0">
              <a:solidFill>
                <a:srgbClr val="2D3B45"/>
              </a:solidFill>
              <a:latin typeface="Lato Extended"/>
            </a:endParaRPr>
          </a:p>
          <a:p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7. Vær en venn! </a:t>
            </a:r>
            <a:endParaRPr lang="nb-NO" sz="1600" dirty="0">
              <a:solidFill>
                <a:srgbClr val="2D3B45"/>
              </a:solidFill>
              <a:latin typeface="Lato Extended"/>
            </a:endParaRPr>
          </a:p>
          <a:p>
            <a:r>
              <a:rPr lang="nb-NO" sz="1600" b="1" dirty="0">
                <a:solidFill>
                  <a:srgbClr val="2D3B45"/>
                </a:solidFill>
                <a:latin typeface="Lato Extended"/>
              </a:rPr>
              <a:t>8. Ha det gøy på veien!</a:t>
            </a:r>
            <a:endParaRPr lang="nb-NO" sz="1600" b="0" i="0" dirty="0">
              <a:solidFill>
                <a:srgbClr val="2D3B45"/>
              </a:solidFill>
              <a:effectLst/>
              <a:latin typeface="Lato Extended"/>
            </a:endParaRPr>
          </a:p>
        </p:txBody>
      </p:sp>
    </p:spTree>
    <p:extLst>
      <p:ext uri="{BB962C8B-B14F-4D97-AF65-F5344CB8AC3E}">
        <p14:creationId xmlns:p14="http://schemas.microsoft.com/office/powerpoint/2010/main" val="36005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360044" y="360045"/>
            <a:ext cx="12088408" cy="1397454"/>
          </a:xfrm>
        </p:spPr>
        <p:txBody>
          <a:bodyPr/>
          <a:lstStyle/>
          <a:p>
            <a:r>
              <a:rPr lang="nb-NO" sz="3200" dirty="0"/>
              <a:t>Kommunikasjon med de nye studentene før </a:t>
            </a:r>
            <a:r>
              <a:rPr lang="nb-NO" sz="3200" dirty="0" err="1"/>
              <a:t>studiestartuka</a:t>
            </a:r>
            <a:endParaRPr lang="nb-NO" sz="3200" dirty="0"/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4" y="1266610"/>
            <a:ext cx="11146766" cy="5235803"/>
          </a:xfrm>
        </p:spPr>
        <p:txBody>
          <a:bodyPr/>
          <a:lstStyle/>
          <a:p>
            <a:r>
              <a:rPr lang="nb-NO" sz="2000" dirty="0"/>
              <a:t>Når studentene takker ja til studieplass, må de finne lett tilgjengelig informasjon om</a:t>
            </a:r>
          </a:p>
          <a:p>
            <a:pPr lvl="1"/>
            <a:r>
              <a:rPr lang="nb-NO" sz="1800" dirty="0"/>
              <a:t>hvor og når de skal møte opp</a:t>
            </a:r>
          </a:p>
          <a:p>
            <a:pPr lvl="1"/>
            <a:r>
              <a:rPr lang="nb-NO" sz="1800" dirty="0"/>
              <a:t>hva som skjer i </a:t>
            </a:r>
            <a:r>
              <a:rPr lang="nb-NO" sz="1800" dirty="0" err="1"/>
              <a:t>studiestartuka</a:t>
            </a:r>
            <a:endParaRPr lang="nb-NO" sz="1800" dirty="0"/>
          </a:p>
          <a:p>
            <a:pPr lvl="1"/>
            <a:r>
              <a:rPr lang="nb-NO" sz="1800" dirty="0"/>
              <a:t>hva de ev. må foreta seg før </a:t>
            </a:r>
            <a:r>
              <a:rPr lang="nb-NO" sz="1800" dirty="0" err="1"/>
              <a:t>studiestartuka</a:t>
            </a:r>
            <a:endParaRPr lang="nb-NO" sz="1800" dirty="0"/>
          </a:p>
          <a:p>
            <a:r>
              <a:rPr lang="nb-NO" sz="2000" dirty="0"/>
              <a:t>Velkomsts-e-post fra UiO i slutten av juli</a:t>
            </a:r>
          </a:p>
          <a:p>
            <a:r>
              <a:rPr lang="nb-NO" sz="2000" dirty="0"/>
              <a:t>Gjennomarbeidede nettsider på sentralt og lokalt nivå.</a:t>
            </a:r>
          </a:p>
          <a:p>
            <a:pPr lvl="1"/>
            <a:r>
              <a:rPr lang="nb-NO" sz="1800" b="1" dirty="0"/>
              <a:t>På de sentrale nettsidene </a:t>
            </a:r>
            <a:r>
              <a:rPr lang="nb-NO" sz="1800" dirty="0"/>
              <a:t>finner studentene f.eks. informasjon om </a:t>
            </a:r>
          </a:p>
          <a:p>
            <a:pPr lvl="2"/>
            <a:r>
              <a:rPr lang="nb-NO" sz="1800" dirty="0"/>
              <a:t>generelle frister, it-tjenester, Mine studier og studentbevis. </a:t>
            </a:r>
          </a:p>
          <a:p>
            <a:pPr lvl="2"/>
            <a:r>
              <a:rPr lang="nb-NO" sz="1800" dirty="0"/>
              <a:t>lenker svært synlig videre til studiestartsidene til hvert studieprogram</a:t>
            </a:r>
            <a:endParaRPr lang="nb-NO" sz="1800" b="1" dirty="0"/>
          </a:p>
          <a:p>
            <a:pPr lvl="1"/>
            <a:r>
              <a:rPr lang="nb-NO" sz="1800" b="1" dirty="0"/>
              <a:t>På </a:t>
            </a:r>
            <a:r>
              <a:rPr lang="nb-NO" sz="1800" b="1" dirty="0" err="1"/>
              <a:t>studiestartssidene</a:t>
            </a:r>
            <a:r>
              <a:rPr lang="nb-NO" sz="1800" b="1" dirty="0"/>
              <a:t> til hvert studieprogram </a:t>
            </a:r>
            <a:r>
              <a:rPr lang="nb-NO" sz="1800" dirty="0"/>
              <a:t>finner studentene informasjon om</a:t>
            </a:r>
          </a:p>
          <a:p>
            <a:pPr lvl="2"/>
            <a:r>
              <a:rPr lang="nb-NO" sz="1800" dirty="0"/>
              <a:t>studiestartsarrangementer, aktuelle foreninger, satsninger, kontaktpunkter </a:t>
            </a:r>
          </a:p>
          <a:p>
            <a:pPr lvl="2"/>
            <a:r>
              <a:rPr lang="nb-NO" sz="1800" dirty="0"/>
              <a:t>annet relevant innhold for det enkelte programmet.</a:t>
            </a:r>
          </a:p>
          <a:p>
            <a:pPr lvl="1"/>
            <a:endParaRPr lang="nb-NO" sz="1600" b="1" dirty="0"/>
          </a:p>
        </p:txBody>
      </p:sp>
    </p:spTree>
    <p:extLst>
      <p:ext uri="{BB962C8B-B14F-4D97-AF65-F5344CB8AC3E}">
        <p14:creationId xmlns:p14="http://schemas.microsoft.com/office/powerpoint/2010/main" val="30965077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skjer i studiestart?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Sentrale arrangementer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Velkomstsseremoni</a:t>
            </a:r>
          </a:p>
          <a:p>
            <a:r>
              <a:rPr lang="nb-NO" dirty="0"/>
              <a:t>Ombruksdag (arbeidstittel)</a:t>
            </a:r>
          </a:p>
          <a:p>
            <a:r>
              <a:rPr lang="nb-NO" dirty="0"/>
              <a:t>Klar, ferdig, UiO!</a:t>
            </a:r>
          </a:p>
          <a:p>
            <a:r>
              <a:rPr lang="nb-NO" dirty="0" err="1"/>
              <a:t>Livet@uniOslo</a:t>
            </a:r>
            <a:endParaRPr lang="nb-NO" dirty="0"/>
          </a:p>
          <a:p>
            <a:r>
              <a:rPr lang="nb-NO" dirty="0"/>
              <a:t>Studentslippet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5453" y="1390536"/>
            <a:ext cx="62865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518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50" b="7250"/>
          <a:stretch>
            <a:fillRect/>
          </a:stretch>
        </p:blipFill>
        <p:spPr>
          <a:xfrm>
            <a:off x="6887326" y="27304"/>
            <a:ext cx="5304674" cy="6803391"/>
          </a:xfrm>
        </p:spPr>
      </p:pic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lkomstseremoni</a:t>
            </a:r>
          </a:p>
        </p:txBody>
      </p:sp>
      <p:sp>
        <p:nvSpPr>
          <p:cNvPr id="7" name="Undertittel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15. august</a:t>
            </a:r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30"/>
          </p:nvPr>
        </p:nvSpPr>
        <p:spPr>
          <a:xfrm>
            <a:off x="360043" y="1757499"/>
            <a:ext cx="5938343" cy="4301103"/>
          </a:xfrm>
        </p:spPr>
        <p:txBody>
          <a:bodyPr/>
          <a:lstStyle/>
          <a:p>
            <a:r>
              <a:rPr lang="nb-NO" dirty="0"/>
              <a:t>Tradisjonell velkomstseremoni</a:t>
            </a:r>
          </a:p>
          <a:p>
            <a:r>
              <a:rPr lang="nb-NO" dirty="0"/>
              <a:t>På Universitetsplassen</a:t>
            </a:r>
          </a:p>
          <a:p>
            <a:r>
              <a:rPr lang="nb-NO" dirty="0"/>
              <a:t>Taler, kor og orkester</a:t>
            </a:r>
          </a:p>
          <a:p>
            <a:r>
              <a:rPr lang="nb-NO" dirty="0"/>
              <a:t>Ingen antallsbegrensning blant publikum</a:t>
            </a:r>
          </a:p>
        </p:txBody>
      </p:sp>
    </p:spTree>
    <p:extLst>
      <p:ext uri="{BB962C8B-B14F-4D97-AF65-F5344CB8AC3E}">
        <p14:creationId xmlns:p14="http://schemas.microsoft.com/office/powerpoint/2010/main" val="14395218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gendefinert 1">
    <a:dk1>
      <a:srgbClr val="515350"/>
    </a:dk1>
    <a:lt1>
      <a:srgbClr val="FFFFFF"/>
    </a:lt1>
    <a:dk2>
      <a:srgbClr val="F26649"/>
    </a:dk2>
    <a:lt2>
      <a:srgbClr val="E7E6E6"/>
    </a:lt2>
    <a:accent1>
      <a:srgbClr val="71C3B3"/>
    </a:accent1>
    <a:accent2>
      <a:srgbClr val="1C7CA1"/>
    </a:accent2>
    <a:accent3>
      <a:srgbClr val="FCF7BA"/>
    </a:accent3>
    <a:accent4>
      <a:srgbClr val="FCE164"/>
    </a:accent4>
    <a:accent5>
      <a:srgbClr val="F15F5B"/>
    </a:accent5>
    <a:accent6>
      <a:srgbClr val="515350"/>
    </a:accent6>
    <a:hlink>
      <a:srgbClr val="F26649"/>
    </a:hlink>
    <a:folHlink>
      <a:srgbClr val="E22244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-tema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45a9c032-1c21-4297-bc4a-1b0e359a6c15"/>
    <ds:schemaRef ds:uri="http://schemas.openxmlformats.org/package/2006/metadata/core-properties"/>
    <ds:schemaRef ds:uri="e5e35b8c-bb2a-40e7-acd7-beed1d1f14b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6630</TotalTime>
  <Words>768</Words>
  <Application>Microsoft Office PowerPoint</Application>
  <PresentationFormat>Widescreen</PresentationFormat>
  <Paragraphs>12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Arial, sans-serif</vt:lpstr>
      <vt:lpstr>Calibri</vt:lpstr>
      <vt:lpstr>Lato Extended</vt:lpstr>
      <vt:lpstr>Times New Roman</vt:lpstr>
      <vt:lpstr>Wingdings</vt:lpstr>
      <vt:lpstr>Office-tema</vt:lpstr>
      <vt:lpstr>think-cell Slide</vt:lpstr>
      <vt:lpstr>Studiestart 2022</vt:lpstr>
      <vt:lpstr>Organisering (1/2)</vt:lpstr>
      <vt:lpstr>Organisering (2/2)</vt:lpstr>
      <vt:lpstr>Hvem kom til UiO i august?</vt:lpstr>
      <vt:lpstr>PowerPoint Presentation</vt:lpstr>
      <vt:lpstr>Fadderordning</vt:lpstr>
      <vt:lpstr>Kommunikasjon med de nye studentene før studiestartuka</vt:lpstr>
      <vt:lpstr>Hva skjer i studiestart?</vt:lpstr>
      <vt:lpstr>Velkomstseremoni</vt:lpstr>
      <vt:lpstr>Klar, ferdig, UiO!</vt:lpstr>
      <vt:lpstr>Ombruksdag</vt:lpstr>
      <vt:lpstr>PowerPoint Presentation</vt:lpstr>
      <vt:lpstr>Studentslippet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start 2022</dc:title>
  <dc:creator>Morten Aase Løver</dc:creator>
  <cp:lastModifiedBy>Kirsti Margrethe Mortensen</cp:lastModifiedBy>
  <cp:revision>30</cp:revision>
  <dcterms:created xsi:type="dcterms:W3CDTF">2022-06-10T10:06:15Z</dcterms:created>
  <dcterms:modified xsi:type="dcterms:W3CDTF">2022-08-30T07:4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